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4.xml" ContentType="application/vnd.openxmlformats-officedocument.presentationml.tags+xml"/>
  <Override PartName="/ppt/notesSlides/notesSlide1.xml" ContentType="application/vnd.openxmlformats-officedocument.presentationml.notesSlide+xml"/>
  <Override PartName="/ppt/tags/tag15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772" r:id="rId4"/>
  </p:sldMasterIdLst>
  <p:notesMasterIdLst>
    <p:notesMasterId r:id="rId7"/>
  </p:notesMasterIdLst>
  <p:handoutMasterIdLst>
    <p:handoutMasterId r:id="rId8"/>
  </p:handoutMasterIdLst>
  <p:sldIdLst>
    <p:sldId id="256" r:id="rId5"/>
    <p:sldId id="275" r:id="rId6"/>
  </p:sldIdLst>
  <p:sldSz cx="12192000" cy="6858000"/>
  <p:notesSz cx="9144000" cy="6858000"/>
  <p:custDataLst>
    <p:tags r:id="rId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80" userDrawn="1">
          <p15:clr>
            <a:srgbClr val="A4A3A4"/>
          </p15:clr>
        </p15:guide>
        <p15:guide id="3" orient="horz" pos="2352" userDrawn="1">
          <p15:clr>
            <a:srgbClr val="A4A3A4"/>
          </p15:clr>
        </p15:guide>
        <p15:guide id="4" orient="horz" pos="3795" userDrawn="1">
          <p15:clr>
            <a:srgbClr val="A4A3A4"/>
          </p15:clr>
        </p15:guide>
        <p15:guide id="6" orient="horz" pos="4175" userDrawn="1">
          <p15:clr>
            <a:srgbClr val="A4A3A4"/>
          </p15:clr>
        </p15:guide>
        <p15:guide id="7" pos="293" userDrawn="1">
          <p15:clr>
            <a:srgbClr val="A4A3A4"/>
          </p15:clr>
        </p15:guide>
        <p15:guide id="8" pos="7399" userDrawn="1">
          <p15:clr>
            <a:srgbClr val="A4A3A4"/>
          </p15:clr>
        </p15:guide>
        <p15:guide id="9" pos="1463" userDrawn="1">
          <p15:clr>
            <a:srgbClr val="A4A3A4"/>
          </p15:clr>
        </p15:guide>
        <p15:guide id="10" pos="6193" userDrawn="1">
          <p15:clr>
            <a:srgbClr val="A4A3A4"/>
          </p15:clr>
        </p15:guide>
        <p15:guide id="11" pos="3841" userDrawn="1">
          <p15:clr>
            <a:srgbClr val="A4A3A4"/>
          </p15:clr>
        </p15:guide>
        <p15:guide id="12" pos="2640" userDrawn="1">
          <p15:clr>
            <a:srgbClr val="A4A3A4"/>
          </p15:clr>
        </p15:guide>
        <p15:guide id="13" pos="5016" userDrawn="1">
          <p15:clr>
            <a:srgbClr val="A4A3A4"/>
          </p15:clr>
        </p15:guide>
        <p15:guide id="14" orient="horz" pos="279" userDrawn="1">
          <p15:clr>
            <a:srgbClr val="A4A3A4"/>
          </p15:clr>
        </p15:guide>
        <p15:guide id="15" orient="horz" pos="768" userDrawn="1">
          <p15:clr>
            <a:srgbClr val="A4A3A4"/>
          </p15:clr>
        </p15:guide>
        <p15:guide id="16" orient="horz" pos="4152" userDrawn="1">
          <p15:clr>
            <a:srgbClr val="A4A3A4"/>
          </p15:clr>
        </p15:guide>
        <p15:guide id="17" orient="horz" pos="912" userDrawn="1">
          <p15:clr>
            <a:srgbClr val="A4A3A4"/>
          </p15:clr>
        </p15:guide>
        <p15:guide id="18" orient="horz" pos="3931" userDrawn="1">
          <p15:clr>
            <a:srgbClr val="A4A3A4"/>
          </p15:clr>
        </p15:guide>
        <p15:guide id="19" pos="3792" userDrawn="1">
          <p15:clr>
            <a:srgbClr val="A4A3A4"/>
          </p15:clr>
        </p15:guide>
        <p15:guide id="20" pos="3888" userDrawn="1">
          <p15:clr>
            <a:srgbClr val="A4A3A4"/>
          </p15:clr>
        </p15:guide>
        <p15:guide id="21" orient="horz" pos="2304" userDrawn="1">
          <p15:clr>
            <a:srgbClr val="A4A3A4"/>
          </p15:clr>
        </p15:guide>
        <p15:guide id="22" orient="horz" pos="2400" userDrawn="1">
          <p15:clr>
            <a:srgbClr val="A4A3A4"/>
          </p15:clr>
        </p15:guide>
        <p15:guide id="23" orient="horz" pos="286" userDrawn="1">
          <p15:clr>
            <a:srgbClr val="A4A3A4"/>
          </p15:clr>
        </p15:guide>
        <p15:guide id="24" orient="horz" pos="285" userDrawn="1">
          <p15:clr>
            <a:srgbClr val="A4A3A4"/>
          </p15:clr>
        </p15:guide>
        <p15:guide id="25" orient="horz" pos="401" userDrawn="1">
          <p15:clr>
            <a:srgbClr val="A4A3A4"/>
          </p15:clr>
        </p15:guide>
        <p15:guide id="26" orient="horz" pos="1039" userDrawn="1">
          <p15:clr>
            <a:srgbClr val="A4A3A4"/>
          </p15:clr>
        </p15:guide>
        <p15:guide id="27" pos="3435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4848"/>
    <a:srgbClr val="7F7F7F"/>
    <a:srgbClr val="F2F2F2"/>
    <a:srgbClr val="D9D9D9"/>
    <a:srgbClr val="F7F7F7"/>
    <a:srgbClr val="00859B"/>
    <a:srgbClr val="EFE411"/>
    <a:srgbClr val="D20962"/>
    <a:srgbClr val="B2DAE1"/>
    <a:srgbClr val="E5B2CF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6203" autoAdjust="0"/>
    <p:restoredTop sz="95332" autoAdjust="0"/>
  </p:normalViewPr>
  <p:slideViewPr>
    <p:cSldViewPr snapToGrid="0">
      <p:cViewPr varScale="1">
        <p:scale>
          <a:sx n="92" d="100"/>
          <a:sy n="92" d="100"/>
        </p:scale>
        <p:origin x="108" y="204"/>
      </p:cViewPr>
      <p:guideLst>
        <p:guide orient="horz" pos="280"/>
        <p:guide orient="horz" pos="2352"/>
        <p:guide orient="horz" pos="3795"/>
        <p:guide orient="horz" pos="4175"/>
        <p:guide pos="293"/>
        <p:guide pos="7399"/>
        <p:guide pos="1463"/>
        <p:guide pos="6193"/>
        <p:guide pos="3841"/>
        <p:guide pos="2640"/>
        <p:guide pos="5016"/>
        <p:guide orient="horz" pos="279"/>
        <p:guide orient="horz" pos="768"/>
        <p:guide orient="horz" pos="4152"/>
        <p:guide orient="horz" pos="912"/>
        <p:guide orient="horz" pos="3931"/>
        <p:guide pos="3792"/>
        <p:guide pos="3888"/>
        <p:guide orient="horz" pos="2304"/>
        <p:guide orient="horz" pos="2400"/>
        <p:guide orient="horz" pos="286"/>
        <p:guide orient="horz" pos="285"/>
        <p:guide orient="horz" pos="401"/>
        <p:guide orient="horz" pos="1039"/>
        <p:guide pos="3435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>
      <p:cViewPr varScale="1">
        <p:scale>
          <a:sx n="88" d="100"/>
          <a:sy n="88" d="100"/>
        </p:scale>
        <p:origin x="2040" y="77"/>
      </p:cViewPr>
      <p:guideLst>
        <p:guide orient="horz" pos="2160"/>
        <p:guide pos="288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notesMaster" Target="notesMasters/notesMaster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viewProps" Target="viewProps.xml"/><Relationship Id="rId5" Type="http://schemas.openxmlformats.org/officeDocument/2006/relationships/slide" Target="slides/slide1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sz="1000" dirty="0">
              <a:latin typeface="Open Sans Light"/>
              <a:cs typeface="Open Sans Light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5180013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2541AEF-3112-6549-914A-E0D9B60F40EA}" type="datetimeFigureOut">
              <a:rPr lang="en-US" sz="1000" smtClean="0">
                <a:latin typeface="Open Sans Light"/>
                <a:cs typeface="Open Sans Light"/>
              </a:rPr>
              <a:t>6/3/2019</a:t>
            </a:fld>
            <a:endParaRPr lang="en-US" sz="1000" dirty="0">
              <a:latin typeface="Open Sans Light"/>
              <a:cs typeface="Open Sans Light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6513513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sz="1000" dirty="0">
              <a:latin typeface="Open Sans Light"/>
              <a:cs typeface="Open Sans Light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5180013" y="6513513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F293638-C25A-9844-8D5B-B0309EC5F961}" type="slidenum">
              <a:rPr lang="en-US" sz="1000" smtClean="0">
                <a:latin typeface="Open Sans Light"/>
                <a:cs typeface="Open Sans Light"/>
              </a:rPr>
              <a:t>‹#›</a:t>
            </a:fld>
            <a:endParaRPr lang="en-US" sz="1000" dirty="0">
              <a:latin typeface="Open Sans Light"/>
              <a:cs typeface="Open Sans Light"/>
            </a:endParaRPr>
          </a:p>
        </p:txBody>
      </p:sp>
    </p:spTree>
    <p:extLst>
      <p:ext uri="{BB962C8B-B14F-4D97-AF65-F5344CB8AC3E}">
        <p14:creationId xmlns:p14="http://schemas.microsoft.com/office/powerpoint/2010/main" val="347683461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0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180013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0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EC2C7003-A6A9-A249-88AD-8CFDA7DED64B}" type="datetimeFigureOut">
              <a:rPr lang="en-US" smtClean="0"/>
              <a:pPr/>
              <a:t>6/3/2019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286000" y="514350"/>
            <a:ext cx="4572000" cy="25717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14400" y="3257550"/>
            <a:ext cx="7315200" cy="30861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6513513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0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180013" y="6513513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50AD15A5-6128-B84F-818D-8AA5BDD9AF9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626992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4572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  <a:sym typeface="Arial" panose="020B0604020202020204" pitchFamily="34" charset="0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  <a:sym typeface="Arial" panose="020B0604020202020204" pitchFamily="34" charset="0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  <a:sym typeface="Arial" panose="020B0604020202020204" pitchFamily="34" charset="0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  <a:sym typeface="Arial" panose="020B0604020202020204" pitchFamily="34" charset="0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  <a:sym typeface="Arial" panose="020B0604020202020204" pitchFamily="34" charset="0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0AD15A5-6128-B84F-818D-8AA5BDD9AF9D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712390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0AD15A5-6128-B84F-818D-8AA5BDD9AF9D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0967728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rgbClr val="064E6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7832721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22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/>
          <p:cNvSpPr>
            <a:spLocks noChangeAspect="1"/>
          </p:cNvSpPr>
          <p:nvPr/>
        </p:nvSpPr>
        <p:spPr>
          <a:xfrm>
            <a:off x="7751366" y="0"/>
            <a:ext cx="4440634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solidFill>
                <a:schemeClr val="accent4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7629890" y="0"/>
            <a:ext cx="121476" cy="6858000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0" name="Group 9"/>
          <p:cNvGrpSpPr/>
          <p:nvPr userDrawn="1"/>
        </p:nvGrpSpPr>
        <p:grpSpPr>
          <a:xfrm>
            <a:off x="834187" y="5051932"/>
            <a:ext cx="2121961" cy="1172755"/>
            <a:chOff x="834187" y="5007328"/>
            <a:chExt cx="2121961" cy="1172755"/>
          </a:xfrm>
        </p:grpSpPr>
        <p:sp>
          <p:nvSpPr>
            <p:cNvPr id="12" name="TextBox 11"/>
            <p:cNvSpPr txBox="1">
              <a:spLocks/>
            </p:cNvSpPr>
            <p:nvPr/>
          </p:nvSpPr>
          <p:spPr>
            <a:xfrm>
              <a:off x="1476280" y="5399774"/>
              <a:ext cx="335594" cy="263468"/>
            </a:xfrm>
            <a:custGeom>
              <a:avLst/>
              <a:gdLst/>
              <a:ahLst/>
              <a:cxnLst/>
              <a:rect l="l" t="t" r="r" b="b"/>
              <a:pathLst>
                <a:path w="486642" h="382152">
                  <a:moveTo>
                    <a:pt x="150943" y="0"/>
                  </a:moveTo>
                  <a:cubicBezTo>
                    <a:pt x="191582" y="0"/>
                    <a:pt x="224490" y="12368"/>
                    <a:pt x="232082" y="39810"/>
                  </a:cubicBezTo>
                  <a:lnTo>
                    <a:pt x="232262" y="41192"/>
                  </a:lnTo>
                  <a:lnTo>
                    <a:pt x="244394" y="27828"/>
                  </a:lnTo>
                  <a:cubicBezTo>
                    <a:pt x="265912" y="9086"/>
                    <a:pt x="296328" y="0"/>
                    <a:pt x="331918" y="0"/>
                  </a:cubicBezTo>
                  <a:cubicBezTo>
                    <a:pt x="355140" y="0"/>
                    <a:pt x="375838" y="4038"/>
                    <a:pt x="390730" y="12620"/>
                  </a:cubicBezTo>
                  <a:lnTo>
                    <a:pt x="399550" y="19037"/>
                  </a:lnTo>
                  <a:lnTo>
                    <a:pt x="415123" y="9213"/>
                  </a:lnTo>
                  <a:cubicBezTo>
                    <a:pt x="421204" y="6846"/>
                    <a:pt x="427956" y="5553"/>
                    <a:pt x="435150" y="5553"/>
                  </a:cubicBezTo>
                  <a:cubicBezTo>
                    <a:pt x="464430" y="5553"/>
                    <a:pt x="486642" y="26250"/>
                    <a:pt x="486642" y="53511"/>
                  </a:cubicBezTo>
                  <a:cubicBezTo>
                    <a:pt x="486642" y="80772"/>
                    <a:pt x="464430" y="101974"/>
                    <a:pt x="435150" y="101974"/>
                  </a:cubicBezTo>
                  <a:cubicBezTo>
                    <a:pt x="420763" y="101974"/>
                    <a:pt x="408142" y="96674"/>
                    <a:pt x="399118" y="87965"/>
                  </a:cubicBezTo>
                  <a:lnTo>
                    <a:pt x="397141" y="85099"/>
                  </a:lnTo>
                  <a:lnTo>
                    <a:pt x="387023" y="90979"/>
                  </a:lnTo>
                  <a:cubicBezTo>
                    <a:pt x="381675" y="92887"/>
                    <a:pt x="375838" y="93897"/>
                    <a:pt x="369780" y="93897"/>
                  </a:cubicBezTo>
                  <a:cubicBezTo>
                    <a:pt x="355140" y="93897"/>
                    <a:pt x="342015" y="89354"/>
                    <a:pt x="335452" y="81781"/>
                  </a:cubicBezTo>
                  <a:cubicBezTo>
                    <a:pt x="350092" y="78247"/>
                    <a:pt x="359179" y="66132"/>
                    <a:pt x="359179" y="42910"/>
                  </a:cubicBezTo>
                  <a:cubicBezTo>
                    <a:pt x="359179" y="22717"/>
                    <a:pt x="350597" y="8077"/>
                    <a:pt x="331918" y="8077"/>
                  </a:cubicBezTo>
                  <a:cubicBezTo>
                    <a:pt x="308696" y="8077"/>
                    <a:pt x="300619" y="29784"/>
                    <a:pt x="300619" y="58054"/>
                  </a:cubicBezTo>
                  <a:lnTo>
                    <a:pt x="300619" y="132264"/>
                  </a:lnTo>
                  <a:lnTo>
                    <a:pt x="363217" y="132264"/>
                  </a:lnTo>
                  <a:lnTo>
                    <a:pt x="360693" y="144884"/>
                  </a:lnTo>
                  <a:lnTo>
                    <a:pt x="300619" y="144884"/>
                  </a:lnTo>
                  <a:lnTo>
                    <a:pt x="300619" y="327126"/>
                  </a:lnTo>
                  <a:cubicBezTo>
                    <a:pt x="300619" y="360445"/>
                    <a:pt x="312230" y="369027"/>
                    <a:pt x="339490" y="381142"/>
                  </a:cubicBezTo>
                  <a:lnTo>
                    <a:pt x="339490" y="382152"/>
                  </a:lnTo>
                  <a:lnTo>
                    <a:pt x="186529" y="382152"/>
                  </a:lnTo>
                  <a:lnTo>
                    <a:pt x="186529" y="381142"/>
                  </a:lnTo>
                  <a:cubicBezTo>
                    <a:pt x="208741" y="367007"/>
                    <a:pt x="210255" y="360445"/>
                    <a:pt x="210255" y="327126"/>
                  </a:cubicBezTo>
                  <a:lnTo>
                    <a:pt x="210255" y="144884"/>
                  </a:lnTo>
                  <a:lnTo>
                    <a:pt x="180976" y="144884"/>
                  </a:lnTo>
                  <a:lnTo>
                    <a:pt x="180976" y="139331"/>
                  </a:lnTo>
                  <a:lnTo>
                    <a:pt x="210255" y="128225"/>
                  </a:lnTo>
                  <a:lnTo>
                    <a:pt x="210255" y="113585"/>
                  </a:lnTo>
                  <a:lnTo>
                    <a:pt x="212504" y="87227"/>
                  </a:lnTo>
                  <a:lnTo>
                    <a:pt x="206048" y="90979"/>
                  </a:lnTo>
                  <a:cubicBezTo>
                    <a:pt x="200700" y="92887"/>
                    <a:pt x="194863" y="93897"/>
                    <a:pt x="188805" y="93897"/>
                  </a:cubicBezTo>
                  <a:cubicBezTo>
                    <a:pt x="174165" y="93897"/>
                    <a:pt x="161040" y="89354"/>
                    <a:pt x="154477" y="81781"/>
                  </a:cubicBezTo>
                  <a:cubicBezTo>
                    <a:pt x="169117" y="78247"/>
                    <a:pt x="178204" y="66132"/>
                    <a:pt x="178204" y="42910"/>
                  </a:cubicBezTo>
                  <a:cubicBezTo>
                    <a:pt x="178204" y="22717"/>
                    <a:pt x="169622" y="8077"/>
                    <a:pt x="150943" y="8077"/>
                  </a:cubicBezTo>
                  <a:cubicBezTo>
                    <a:pt x="127721" y="8077"/>
                    <a:pt x="119644" y="29784"/>
                    <a:pt x="119644" y="58054"/>
                  </a:cubicBezTo>
                  <a:lnTo>
                    <a:pt x="119644" y="132264"/>
                  </a:lnTo>
                  <a:lnTo>
                    <a:pt x="182242" y="132264"/>
                  </a:lnTo>
                  <a:lnTo>
                    <a:pt x="179718" y="144884"/>
                  </a:lnTo>
                  <a:lnTo>
                    <a:pt x="119644" y="144884"/>
                  </a:lnTo>
                  <a:lnTo>
                    <a:pt x="119644" y="327126"/>
                  </a:lnTo>
                  <a:cubicBezTo>
                    <a:pt x="119644" y="360445"/>
                    <a:pt x="131255" y="369027"/>
                    <a:pt x="158516" y="381142"/>
                  </a:cubicBezTo>
                  <a:lnTo>
                    <a:pt x="158516" y="382152"/>
                  </a:lnTo>
                  <a:lnTo>
                    <a:pt x="5554" y="382152"/>
                  </a:lnTo>
                  <a:lnTo>
                    <a:pt x="5554" y="381142"/>
                  </a:lnTo>
                  <a:cubicBezTo>
                    <a:pt x="27766" y="367007"/>
                    <a:pt x="29280" y="360445"/>
                    <a:pt x="29280" y="327126"/>
                  </a:cubicBezTo>
                  <a:lnTo>
                    <a:pt x="29280" y="144884"/>
                  </a:lnTo>
                  <a:lnTo>
                    <a:pt x="0" y="144884"/>
                  </a:lnTo>
                  <a:lnTo>
                    <a:pt x="0" y="139331"/>
                  </a:lnTo>
                  <a:lnTo>
                    <a:pt x="29280" y="128225"/>
                  </a:lnTo>
                  <a:lnTo>
                    <a:pt x="29280" y="113585"/>
                  </a:lnTo>
                  <a:cubicBezTo>
                    <a:pt x="29280" y="36347"/>
                    <a:pt x="79763" y="0"/>
                    <a:pt x="150943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extBox 12"/>
            <p:cNvSpPr txBox="1">
              <a:spLocks/>
            </p:cNvSpPr>
            <p:nvPr/>
          </p:nvSpPr>
          <p:spPr>
            <a:xfrm>
              <a:off x="1205971" y="5416132"/>
              <a:ext cx="250308" cy="250591"/>
            </a:xfrm>
            <a:custGeom>
              <a:avLst/>
              <a:gdLst/>
              <a:ahLst/>
              <a:cxnLst/>
              <a:rect l="l" t="t" r="r" b="b"/>
              <a:pathLst>
                <a:path w="362969" h="363474">
                  <a:moveTo>
                    <a:pt x="181737" y="0"/>
                  </a:moveTo>
                  <a:cubicBezTo>
                    <a:pt x="285731" y="0"/>
                    <a:pt x="362969" y="75724"/>
                    <a:pt x="362969" y="181737"/>
                  </a:cubicBezTo>
                  <a:cubicBezTo>
                    <a:pt x="362969" y="287751"/>
                    <a:pt x="285731" y="363474"/>
                    <a:pt x="181737" y="363474"/>
                  </a:cubicBezTo>
                  <a:cubicBezTo>
                    <a:pt x="77238" y="363474"/>
                    <a:pt x="0" y="287751"/>
                    <a:pt x="0" y="181737"/>
                  </a:cubicBezTo>
                  <a:cubicBezTo>
                    <a:pt x="0" y="75724"/>
                    <a:pt x="77238" y="0"/>
                    <a:pt x="181737" y="0"/>
                  </a:cubicBezTo>
                  <a:close/>
                  <a:moveTo>
                    <a:pt x="181737" y="10097"/>
                  </a:moveTo>
                  <a:cubicBezTo>
                    <a:pt x="123682" y="10097"/>
                    <a:pt x="103994" y="70676"/>
                    <a:pt x="103994" y="181737"/>
                  </a:cubicBezTo>
                  <a:cubicBezTo>
                    <a:pt x="103994" y="292799"/>
                    <a:pt x="123682" y="353378"/>
                    <a:pt x="181737" y="353378"/>
                  </a:cubicBezTo>
                  <a:cubicBezTo>
                    <a:pt x="239287" y="353378"/>
                    <a:pt x="258975" y="292799"/>
                    <a:pt x="258975" y="181737"/>
                  </a:cubicBezTo>
                  <a:cubicBezTo>
                    <a:pt x="258975" y="70676"/>
                    <a:pt x="239287" y="10097"/>
                    <a:pt x="181737" y="1009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TextBox 13"/>
            <p:cNvSpPr txBox="1">
              <a:spLocks/>
            </p:cNvSpPr>
            <p:nvPr/>
          </p:nvSpPr>
          <p:spPr>
            <a:xfrm>
              <a:off x="1840684" y="5487481"/>
              <a:ext cx="169193" cy="179242"/>
            </a:xfrm>
            <a:custGeom>
              <a:avLst/>
              <a:gdLst/>
              <a:ahLst/>
              <a:cxnLst/>
              <a:rect l="l" t="t" r="r" b="b"/>
              <a:pathLst>
                <a:path w="245345" h="259984">
                  <a:moveTo>
                    <a:pt x="144885" y="0"/>
                  </a:moveTo>
                  <a:cubicBezTo>
                    <a:pt x="199406" y="0"/>
                    <a:pt x="240297" y="23726"/>
                    <a:pt x="240297" y="65122"/>
                  </a:cubicBezTo>
                  <a:cubicBezTo>
                    <a:pt x="240297" y="95411"/>
                    <a:pt x="217075" y="111061"/>
                    <a:pt x="192843" y="111061"/>
                  </a:cubicBezTo>
                  <a:cubicBezTo>
                    <a:pt x="166087" y="111061"/>
                    <a:pt x="150438" y="96421"/>
                    <a:pt x="148923" y="81781"/>
                  </a:cubicBezTo>
                  <a:cubicBezTo>
                    <a:pt x="151952" y="82791"/>
                    <a:pt x="155486" y="83296"/>
                    <a:pt x="158010" y="83296"/>
                  </a:cubicBezTo>
                  <a:cubicBezTo>
                    <a:pt x="176689" y="83296"/>
                    <a:pt x="184261" y="67646"/>
                    <a:pt x="184261" y="48463"/>
                  </a:cubicBezTo>
                  <a:cubicBezTo>
                    <a:pt x="184261" y="24231"/>
                    <a:pt x="171136" y="8582"/>
                    <a:pt x="145894" y="8582"/>
                  </a:cubicBezTo>
                  <a:cubicBezTo>
                    <a:pt x="110557" y="8582"/>
                    <a:pt x="93897" y="54016"/>
                    <a:pt x="93897" y="112575"/>
                  </a:cubicBezTo>
                  <a:cubicBezTo>
                    <a:pt x="93897" y="181737"/>
                    <a:pt x="124692" y="218589"/>
                    <a:pt x="171640" y="218589"/>
                  </a:cubicBezTo>
                  <a:cubicBezTo>
                    <a:pt x="200415" y="218589"/>
                    <a:pt x="226666" y="204958"/>
                    <a:pt x="242316" y="173659"/>
                  </a:cubicBezTo>
                  <a:lnTo>
                    <a:pt x="245345" y="175174"/>
                  </a:lnTo>
                  <a:cubicBezTo>
                    <a:pt x="231210" y="229190"/>
                    <a:pt x="185775" y="259984"/>
                    <a:pt x="129740" y="259984"/>
                  </a:cubicBezTo>
                  <a:cubicBezTo>
                    <a:pt x="60074" y="259984"/>
                    <a:pt x="0" y="213036"/>
                    <a:pt x="0" y="134788"/>
                  </a:cubicBezTo>
                  <a:cubicBezTo>
                    <a:pt x="0" y="49977"/>
                    <a:pt x="63608" y="0"/>
                    <a:pt x="144885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5" name="TextBox 14"/>
            <p:cNvSpPr txBox="1">
              <a:spLocks/>
            </p:cNvSpPr>
            <p:nvPr/>
          </p:nvSpPr>
          <p:spPr>
            <a:xfrm>
              <a:off x="2024603" y="5487481"/>
              <a:ext cx="173719" cy="179242"/>
            </a:xfrm>
            <a:custGeom>
              <a:avLst/>
              <a:gdLst/>
              <a:ahLst/>
              <a:cxnLst/>
              <a:rect l="l" t="t" r="r" b="b"/>
              <a:pathLst>
                <a:path w="251908" h="259984">
                  <a:moveTo>
                    <a:pt x="132264" y="0"/>
                  </a:moveTo>
                  <a:cubicBezTo>
                    <a:pt x="213541" y="0"/>
                    <a:pt x="251908" y="51996"/>
                    <a:pt x="251908" y="118633"/>
                  </a:cubicBezTo>
                  <a:lnTo>
                    <a:pt x="91373" y="118633"/>
                  </a:lnTo>
                  <a:cubicBezTo>
                    <a:pt x="91373" y="181232"/>
                    <a:pt x="124187" y="218589"/>
                    <a:pt x="172650" y="218589"/>
                  </a:cubicBezTo>
                  <a:cubicBezTo>
                    <a:pt x="203444" y="218589"/>
                    <a:pt x="230200" y="204958"/>
                    <a:pt x="245850" y="173659"/>
                  </a:cubicBezTo>
                  <a:lnTo>
                    <a:pt x="249383" y="175174"/>
                  </a:lnTo>
                  <a:cubicBezTo>
                    <a:pt x="234744" y="229190"/>
                    <a:pt x="189309" y="259984"/>
                    <a:pt x="131759" y="259984"/>
                  </a:cubicBezTo>
                  <a:cubicBezTo>
                    <a:pt x="59569" y="259984"/>
                    <a:pt x="0" y="212531"/>
                    <a:pt x="0" y="130244"/>
                  </a:cubicBezTo>
                  <a:cubicBezTo>
                    <a:pt x="0" y="50987"/>
                    <a:pt x="60074" y="0"/>
                    <a:pt x="132264" y="0"/>
                  </a:cubicBezTo>
                  <a:close/>
                  <a:moveTo>
                    <a:pt x="132264" y="8582"/>
                  </a:moveTo>
                  <a:cubicBezTo>
                    <a:pt x="106013" y="8582"/>
                    <a:pt x="92888" y="48463"/>
                    <a:pt x="91878" y="108032"/>
                  </a:cubicBezTo>
                  <a:lnTo>
                    <a:pt x="165078" y="108032"/>
                  </a:lnTo>
                  <a:cubicBezTo>
                    <a:pt x="165078" y="51492"/>
                    <a:pt x="161039" y="8582"/>
                    <a:pt x="132264" y="858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6" name="TextBox 15"/>
            <p:cNvSpPr txBox="1">
              <a:spLocks/>
            </p:cNvSpPr>
            <p:nvPr/>
          </p:nvSpPr>
          <p:spPr>
            <a:xfrm>
              <a:off x="1727626" y="5490962"/>
              <a:ext cx="97129" cy="172281"/>
            </a:xfrm>
            <a:custGeom>
              <a:avLst/>
              <a:gdLst/>
              <a:ahLst/>
              <a:cxnLst/>
              <a:rect l="l" t="t" r="r" b="b"/>
              <a:pathLst>
                <a:path w="140846" h="249888">
                  <a:moveTo>
                    <a:pt x="0" y="0"/>
                  </a:moveTo>
                  <a:lnTo>
                    <a:pt x="117119" y="0"/>
                  </a:lnTo>
                  <a:lnTo>
                    <a:pt x="117119" y="194862"/>
                  </a:lnTo>
                  <a:cubicBezTo>
                    <a:pt x="117119" y="228181"/>
                    <a:pt x="118633" y="234743"/>
                    <a:pt x="140846" y="248878"/>
                  </a:cubicBezTo>
                  <a:lnTo>
                    <a:pt x="140846" y="249888"/>
                  </a:lnTo>
                  <a:lnTo>
                    <a:pt x="3029" y="249888"/>
                  </a:lnTo>
                  <a:lnTo>
                    <a:pt x="3029" y="248878"/>
                  </a:lnTo>
                  <a:cubicBezTo>
                    <a:pt x="25241" y="234743"/>
                    <a:pt x="26755" y="228181"/>
                    <a:pt x="26755" y="194862"/>
                  </a:cubicBezTo>
                  <a:lnTo>
                    <a:pt x="26755" y="56035"/>
                  </a:lnTo>
                  <a:cubicBezTo>
                    <a:pt x="26755" y="21707"/>
                    <a:pt x="23726" y="14640"/>
                    <a:pt x="0" y="1009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7" name="TextBox 16"/>
            <p:cNvSpPr txBox="1">
              <a:spLocks/>
            </p:cNvSpPr>
            <p:nvPr/>
          </p:nvSpPr>
          <p:spPr>
            <a:xfrm>
              <a:off x="1909962" y="5713507"/>
              <a:ext cx="223154" cy="250591"/>
            </a:xfrm>
            <a:custGeom>
              <a:avLst/>
              <a:gdLst/>
              <a:ahLst/>
              <a:cxnLst/>
              <a:rect l="l" t="t" r="r" b="b"/>
              <a:pathLst>
                <a:path w="323593" h="363474">
                  <a:moveTo>
                    <a:pt x="190319" y="0"/>
                  </a:moveTo>
                  <a:cubicBezTo>
                    <a:pt x="236258" y="0"/>
                    <a:pt x="260994" y="15145"/>
                    <a:pt x="277653" y="15145"/>
                  </a:cubicBezTo>
                  <a:cubicBezTo>
                    <a:pt x="291284" y="15145"/>
                    <a:pt x="299866" y="9087"/>
                    <a:pt x="310467" y="0"/>
                  </a:cubicBezTo>
                  <a:lnTo>
                    <a:pt x="314001" y="120149"/>
                  </a:lnTo>
                  <a:lnTo>
                    <a:pt x="312991" y="120149"/>
                  </a:lnTo>
                  <a:cubicBezTo>
                    <a:pt x="287750" y="56541"/>
                    <a:pt x="250393" y="11107"/>
                    <a:pt x="199910" y="11107"/>
                  </a:cubicBezTo>
                  <a:cubicBezTo>
                    <a:pt x="137312" y="11107"/>
                    <a:pt x="101974" y="80268"/>
                    <a:pt x="101974" y="164573"/>
                  </a:cubicBezTo>
                  <a:cubicBezTo>
                    <a:pt x="101974" y="260490"/>
                    <a:pt x="155486" y="315011"/>
                    <a:pt x="221113" y="315011"/>
                  </a:cubicBezTo>
                  <a:cubicBezTo>
                    <a:pt x="263014" y="315011"/>
                    <a:pt x="297846" y="300371"/>
                    <a:pt x="320564" y="252918"/>
                  </a:cubicBezTo>
                  <a:lnTo>
                    <a:pt x="323593" y="253927"/>
                  </a:lnTo>
                  <a:cubicBezTo>
                    <a:pt x="306428" y="321574"/>
                    <a:pt x="252412" y="363474"/>
                    <a:pt x="173660" y="363474"/>
                  </a:cubicBezTo>
                  <a:cubicBezTo>
                    <a:pt x="74209" y="363474"/>
                    <a:pt x="0" y="293304"/>
                    <a:pt x="0" y="186786"/>
                  </a:cubicBezTo>
                  <a:cubicBezTo>
                    <a:pt x="0" y="76229"/>
                    <a:pt x="85820" y="0"/>
                    <a:pt x="190319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8" name="TextBox 17"/>
            <p:cNvSpPr txBox="1">
              <a:spLocks/>
            </p:cNvSpPr>
            <p:nvPr/>
          </p:nvSpPr>
          <p:spPr>
            <a:xfrm>
              <a:off x="2422311" y="5713507"/>
              <a:ext cx="250308" cy="250591"/>
            </a:xfrm>
            <a:custGeom>
              <a:avLst/>
              <a:gdLst/>
              <a:ahLst/>
              <a:cxnLst/>
              <a:rect l="l" t="t" r="r" b="b"/>
              <a:pathLst>
                <a:path w="362969" h="363474">
                  <a:moveTo>
                    <a:pt x="181737" y="0"/>
                  </a:moveTo>
                  <a:cubicBezTo>
                    <a:pt x="285731" y="0"/>
                    <a:pt x="362969" y="75724"/>
                    <a:pt x="362969" y="181737"/>
                  </a:cubicBezTo>
                  <a:cubicBezTo>
                    <a:pt x="362969" y="287751"/>
                    <a:pt x="285731" y="363474"/>
                    <a:pt x="181737" y="363474"/>
                  </a:cubicBezTo>
                  <a:cubicBezTo>
                    <a:pt x="77238" y="363474"/>
                    <a:pt x="0" y="287751"/>
                    <a:pt x="0" y="181737"/>
                  </a:cubicBezTo>
                  <a:cubicBezTo>
                    <a:pt x="0" y="75724"/>
                    <a:pt x="77238" y="0"/>
                    <a:pt x="181737" y="0"/>
                  </a:cubicBezTo>
                  <a:close/>
                  <a:moveTo>
                    <a:pt x="181737" y="10097"/>
                  </a:moveTo>
                  <a:cubicBezTo>
                    <a:pt x="123682" y="10097"/>
                    <a:pt x="103994" y="70676"/>
                    <a:pt x="103994" y="181737"/>
                  </a:cubicBezTo>
                  <a:cubicBezTo>
                    <a:pt x="103994" y="292799"/>
                    <a:pt x="123682" y="353378"/>
                    <a:pt x="181737" y="353378"/>
                  </a:cubicBezTo>
                  <a:cubicBezTo>
                    <a:pt x="239287" y="353378"/>
                    <a:pt x="258975" y="292799"/>
                    <a:pt x="258975" y="181737"/>
                  </a:cubicBezTo>
                  <a:cubicBezTo>
                    <a:pt x="258975" y="70676"/>
                    <a:pt x="239287" y="10097"/>
                    <a:pt x="181737" y="1009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9" name="TextBox 18"/>
            <p:cNvSpPr txBox="1">
              <a:spLocks/>
            </p:cNvSpPr>
            <p:nvPr/>
          </p:nvSpPr>
          <p:spPr>
            <a:xfrm>
              <a:off x="2148125" y="5713855"/>
              <a:ext cx="257619" cy="246763"/>
            </a:xfrm>
            <a:custGeom>
              <a:avLst/>
              <a:gdLst/>
              <a:ahLst/>
              <a:cxnLst/>
              <a:rect l="l" t="t" r="r" b="b"/>
              <a:pathLst>
                <a:path w="373571" h="357921">
                  <a:moveTo>
                    <a:pt x="17164" y="0"/>
                  </a:moveTo>
                  <a:cubicBezTo>
                    <a:pt x="24232" y="3534"/>
                    <a:pt x="35338" y="4544"/>
                    <a:pt x="52502" y="4544"/>
                  </a:cubicBezTo>
                  <a:lnTo>
                    <a:pt x="321069" y="4544"/>
                  </a:lnTo>
                  <a:cubicBezTo>
                    <a:pt x="338233" y="4544"/>
                    <a:pt x="349339" y="3534"/>
                    <a:pt x="356407" y="0"/>
                  </a:cubicBezTo>
                  <a:lnTo>
                    <a:pt x="373571" y="119644"/>
                  </a:lnTo>
                  <a:lnTo>
                    <a:pt x="372561" y="119644"/>
                  </a:lnTo>
                  <a:cubicBezTo>
                    <a:pt x="329651" y="50988"/>
                    <a:pt x="309963" y="17669"/>
                    <a:pt x="255946" y="17669"/>
                  </a:cubicBezTo>
                  <a:lnTo>
                    <a:pt x="234239" y="17669"/>
                  </a:lnTo>
                  <a:lnTo>
                    <a:pt x="234239" y="297847"/>
                  </a:lnTo>
                  <a:cubicBezTo>
                    <a:pt x="234239" y="331165"/>
                    <a:pt x="240802" y="342272"/>
                    <a:pt x="263014" y="356912"/>
                  </a:cubicBezTo>
                  <a:lnTo>
                    <a:pt x="263014" y="357921"/>
                  </a:lnTo>
                  <a:lnTo>
                    <a:pt x="110557" y="357921"/>
                  </a:lnTo>
                  <a:lnTo>
                    <a:pt x="110557" y="356912"/>
                  </a:lnTo>
                  <a:cubicBezTo>
                    <a:pt x="133274" y="342272"/>
                    <a:pt x="139332" y="331165"/>
                    <a:pt x="139332" y="297847"/>
                  </a:cubicBezTo>
                  <a:lnTo>
                    <a:pt x="139332" y="17669"/>
                  </a:lnTo>
                  <a:lnTo>
                    <a:pt x="117624" y="17669"/>
                  </a:lnTo>
                  <a:cubicBezTo>
                    <a:pt x="63608" y="17669"/>
                    <a:pt x="43920" y="50988"/>
                    <a:pt x="1010" y="119644"/>
                  </a:cubicBezTo>
                  <a:lnTo>
                    <a:pt x="0" y="119644"/>
                  </a:lnTo>
                  <a:lnTo>
                    <a:pt x="171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grpSp>
          <p:nvGrpSpPr>
            <p:cNvPr id="25" name="Group 24"/>
            <p:cNvGrpSpPr/>
            <p:nvPr/>
          </p:nvGrpSpPr>
          <p:grpSpPr>
            <a:xfrm>
              <a:off x="1465810" y="5723666"/>
              <a:ext cx="414429" cy="91688"/>
              <a:chOff x="1465428" y="5723666"/>
              <a:chExt cx="414321" cy="91688"/>
            </a:xfrm>
          </p:grpSpPr>
          <p:sp>
            <p:nvSpPr>
              <p:cNvPr id="20" name="TextBox 19"/>
              <p:cNvSpPr txBox="1">
                <a:spLocks/>
              </p:cNvSpPr>
              <p:nvPr/>
            </p:nvSpPr>
            <p:spPr>
              <a:xfrm>
                <a:off x="1465428" y="5723666"/>
                <a:ext cx="90135" cy="91688"/>
              </a:xfrm>
              <a:custGeom>
                <a:avLst/>
                <a:gdLst/>
                <a:ahLst/>
                <a:cxnLst/>
                <a:rect l="l" t="t" r="r" b="b"/>
                <a:pathLst>
                  <a:path w="130738" h="132991">
                    <a:moveTo>
                      <a:pt x="65709" y="0"/>
                    </a:moveTo>
                    <a:cubicBezTo>
                      <a:pt x="86122" y="0"/>
                      <a:pt x="102063" y="5891"/>
                      <a:pt x="113533" y="17673"/>
                    </a:cubicBezTo>
                    <a:cubicBezTo>
                      <a:pt x="125003" y="29455"/>
                      <a:pt x="130738" y="45715"/>
                      <a:pt x="130738" y="66451"/>
                    </a:cubicBezTo>
                    <a:cubicBezTo>
                      <a:pt x="130738" y="87129"/>
                      <a:pt x="124987" y="103389"/>
                      <a:pt x="113485" y="115230"/>
                    </a:cubicBezTo>
                    <a:cubicBezTo>
                      <a:pt x="101982" y="127071"/>
                      <a:pt x="85992" y="132991"/>
                      <a:pt x="65515" y="132991"/>
                    </a:cubicBezTo>
                    <a:cubicBezTo>
                      <a:pt x="44584" y="132991"/>
                      <a:pt x="28432" y="127174"/>
                      <a:pt x="17059" y="115539"/>
                    </a:cubicBezTo>
                    <a:cubicBezTo>
                      <a:pt x="5686" y="103904"/>
                      <a:pt x="0" y="87483"/>
                      <a:pt x="0" y="66275"/>
                    </a:cubicBezTo>
                    <a:cubicBezTo>
                      <a:pt x="0" y="45243"/>
                      <a:pt x="5702" y="28940"/>
                      <a:pt x="17107" y="17364"/>
                    </a:cubicBezTo>
                    <a:cubicBezTo>
                      <a:pt x="28513" y="5788"/>
                      <a:pt x="44713" y="0"/>
                      <a:pt x="65709" y="0"/>
                    </a:cubicBezTo>
                    <a:close/>
                    <a:moveTo>
                      <a:pt x="65709" y="13431"/>
                    </a:moveTo>
                    <a:cubicBezTo>
                      <a:pt x="49962" y="13431"/>
                      <a:pt x="37990" y="17953"/>
                      <a:pt x="29793" y="26996"/>
                    </a:cubicBezTo>
                    <a:cubicBezTo>
                      <a:pt x="21595" y="36038"/>
                      <a:pt x="17496" y="49190"/>
                      <a:pt x="17496" y="66451"/>
                    </a:cubicBezTo>
                    <a:cubicBezTo>
                      <a:pt x="17496" y="83948"/>
                      <a:pt x="21595" y="97218"/>
                      <a:pt x="29793" y="106261"/>
                    </a:cubicBezTo>
                    <a:cubicBezTo>
                      <a:pt x="37990" y="115303"/>
                      <a:pt x="49897" y="119825"/>
                      <a:pt x="65515" y="119825"/>
                    </a:cubicBezTo>
                    <a:cubicBezTo>
                      <a:pt x="81262" y="119825"/>
                      <a:pt x="93153" y="115318"/>
                      <a:pt x="101188" y="106305"/>
                    </a:cubicBezTo>
                    <a:cubicBezTo>
                      <a:pt x="109224" y="97291"/>
                      <a:pt x="113242" y="84007"/>
                      <a:pt x="113242" y="66451"/>
                    </a:cubicBezTo>
                    <a:cubicBezTo>
                      <a:pt x="113242" y="49073"/>
                      <a:pt x="109240" y="35891"/>
                      <a:pt x="101237" y="26907"/>
                    </a:cubicBezTo>
                    <a:cubicBezTo>
                      <a:pt x="93234" y="17923"/>
                      <a:pt x="81391" y="13431"/>
                      <a:pt x="65709" y="13431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1" name="TextBox 20"/>
              <p:cNvSpPr txBox="1">
                <a:spLocks/>
              </p:cNvSpPr>
              <p:nvPr/>
            </p:nvSpPr>
            <p:spPr>
              <a:xfrm>
                <a:off x="1569024" y="5725066"/>
                <a:ext cx="54618" cy="89069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60620"/>
                    </a:lnTo>
                    <a:lnTo>
                      <a:pt x="75430" y="60620"/>
                    </a:lnTo>
                    <a:lnTo>
                      <a:pt x="75430" y="73963"/>
                    </a:lnTo>
                    <a:lnTo>
                      <a:pt x="16525" y="73963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2" name="TextBox 21"/>
              <p:cNvSpPr txBox="1">
                <a:spLocks/>
              </p:cNvSpPr>
              <p:nvPr/>
            </p:nvSpPr>
            <p:spPr>
              <a:xfrm>
                <a:off x="1648696" y="5725066"/>
                <a:ext cx="73449" cy="89069"/>
              </a:xfrm>
              <a:custGeom>
                <a:avLst/>
                <a:gdLst/>
                <a:ahLst/>
                <a:cxnLst/>
                <a:rect l="l" t="t" r="r" b="b"/>
                <a:pathLst>
                  <a:path w="106535" h="129192">
                    <a:moveTo>
                      <a:pt x="0" y="0"/>
                    </a:moveTo>
                    <a:lnTo>
                      <a:pt x="106535" y="0"/>
                    </a:lnTo>
                    <a:lnTo>
                      <a:pt x="106535" y="13343"/>
                    </a:lnTo>
                    <a:lnTo>
                      <a:pt x="61530" y="13343"/>
                    </a:lnTo>
                    <a:lnTo>
                      <a:pt x="61530" y="129192"/>
                    </a:lnTo>
                    <a:lnTo>
                      <a:pt x="45005" y="129192"/>
                    </a:lnTo>
                    <a:lnTo>
                      <a:pt x="45005" y="13343"/>
                    </a:lnTo>
                    <a:lnTo>
                      <a:pt x="0" y="1334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3" name="TextBox 22"/>
              <p:cNvSpPr txBox="1">
                <a:spLocks/>
              </p:cNvSpPr>
              <p:nvPr/>
            </p:nvSpPr>
            <p:spPr>
              <a:xfrm>
                <a:off x="1733195" y="5725066"/>
                <a:ext cx="74387" cy="89069"/>
              </a:xfrm>
              <a:custGeom>
                <a:avLst/>
                <a:gdLst/>
                <a:ahLst/>
                <a:cxnLst/>
                <a:rect l="l" t="t" r="r" b="b"/>
                <a:pathLst>
                  <a:path w="107896" h="129192">
                    <a:moveTo>
                      <a:pt x="0" y="0"/>
                    </a:moveTo>
                    <a:lnTo>
                      <a:pt x="16525" y="0"/>
                    </a:lnTo>
                    <a:lnTo>
                      <a:pt x="16525" y="54964"/>
                    </a:lnTo>
                    <a:lnTo>
                      <a:pt x="91371" y="54964"/>
                    </a:lnTo>
                    <a:lnTo>
                      <a:pt x="91371" y="0"/>
                    </a:lnTo>
                    <a:lnTo>
                      <a:pt x="107896" y="0"/>
                    </a:lnTo>
                    <a:lnTo>
                      <a:pt x="107896" y="129192"/>
                    </a:lnTo>
                    <a:lnTo>
                      <a:pt x="91371" y="129192"/>
                    </a:lnTo>
                    <a:lnTo>
                      <a:pt x="91371" y="68396"/>
                    </a:lnTo>
                    <a:lnTo>
                      <a:pt x="16525" y="68396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4" name="TextBox 23"/>
              <p:cNvSpPr txBox="1">
                <a:spLocks/>
              </p:cNvSpPr>
              <p:nvPr/>
            </p:nvSpPr>
            <p:spPr>
              <a:xfrm>
                <a:off x="1825131" y="5725066"/>
                <a:ext cx="54618" cy="89069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54964"/>
                    </a:lnTo>
                    <a:lnTo>
                      <a:pt x="75430" y="54964"/>
                    </a:lnTo>
                    <a:lnTo>
                      <a:pt x="75430" y="68219"/>
                    </a:lnTo>
                    <a:lnTo>
                      <a:pt x="16525" y="68219"/>
                    </a:lnTo>
                    <a:lnTo>
                      <a:pt x="16525" y="115760"/>
                    </a:lnTo>
                    <a:lnTo>
                      <a:pt x="79221" y="115760"/>
                    </a:lnTo>
                    <a:lnTo>
                      <a:pt x="79221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</p:grpSp>
        <p:sp>
          <p:nvSpPr>
            <p:cNvPr id="11" name="Freeform 9"/>
            <p:cNvSpPr>
              <a:spLocks noEditPoints="1"/>
            </p:cNvSpPr>
            <p:nvPr/>
          </p:nvSpPr>
          <p:spPr bwMode="auto">
            <a:xfrm>
              <a:off x="834187" y="5007328"/>
              <a:ext cx="2121961" cy="1172755"/>
            </a:xfrm>
            <a:custGeom>
              <a:avLst/>
              <a:gdLst>
                <a:gd name="T0" fmla="*/ 279 w 326"/>
                <a:gd name="T1" fmla="*/ 180 h 180"/>
                <a:gd name="T2" fmla="*/ 271 w 326"/>
                <a:gd name="T3" fmla="*/ 179 h 180"/>
                <a:gd name="T4" fmla="*/ 45 w 326"/>
                <a:gd name="T5" fmla="*/ 179 h 180"/>
                <a:gd name="T6" fmla="*/ 6 w 326"/>
                <a:gd name="T7" fmla="*/ 153 h 180"/>
                <a:gd name="T8" fmla="*/ 0 w 326"/>
                <a:gd name="T9" fmla="*/ 129 h 180"/>
                <a:gd name="T10" fmla="*/ 32 w 326"/>
                <a:gd name="T11" fmla="*/ 82 h 180"/>
                <a:gd name="T12" fmla="*/ 30 w 326"/>
                <a:gd name="T13" fmla="*/ 70 h 180"/>
                <a:gd name="T14" fmla="*/ 100 w 326"/>
                <a:gd name="T15" fmla="*/ 0 h 180"/>
                <a:gd name="T16" fmla="*/ 154 w 326"/>
                <a:gd name="T17" fmla="*/ 26 h 180"/>
                <a:gd name="T18" fmla="*/ 187 w 326"/>
                <a:gd name="T19" fmla="*/ 16 h 180"/>
                <a:gd name="T20" fmla="*/ 242 w 326"/>
                <a:gd name="T21" fmla="*/ 55 h 180"/>
                <a:gd name="T22" fmla="*/ 245 w 326"/>
                <a:gd name="T23" fmla="*/ 54 h 180"/>
                <a:gd name="T24" fmla="*/ 280 w 326"/>
                <a:gd name="T25" fmla="*/ 85 h 180"/>
                <a:gd name="T26" fmla="*/ 326 w 326"/>
                <a:gd name="T27" fmla="*/ 132 h 180"/>
                <a:gd name="T28" fmla="*/ 279 w 326"/>
                <a:gd name="T29" fmla="*/ 180 h 180"/>
                <a:gd name="T30" fmla="*/ 100 w 326"/>
                <a:gd name="T31" fmla="*/ 4 h 180"/>
                <a:gd name="T32" fmla="*/ 34 w 326"/>
                <a:gd name="T33" fmla="*/ 70 h 180"/>
                <a:gd name="T34" fmla="*/ 36 w 326"/>
                <a:gd name="T35" fmla="*/ 83 h 180"/>
                <a:gd name="T36" fmla="*/ 36 w 326"/>
                <a:gd name="T37" fmla="*/ 85 h 180"/>
                <a:gd name="T38" fmla="*/ 35 w 326"/>
                <a:gd name="T39" fmla="*/ 86 h 180"/>
                <a:gd name="T40" fmla="*/ 4 w 326"/>
                <a:gd name="T41" fmla="*/ 129 h 180"/>
                <a:gd name="T42" fmla="*/ 10 w 326"/>
                <a:gd name="T43" fmla="*/ 151 h 180"/>
                <a:gd name="T44" fmla="*/ 10 w 326"/>
                <a:gd name="T45" fmla="*/ 151 h 180"/>
                <a:gd name="T46" fmla="*/ 45 w 326"/>
                <a:gd name="T47" fmla="*/ 175 h 180"/>
                <a:gd name="T48" fmla="*/ 271 w 326"/>
                <a:gd name="T49" fmla="*/ 175 h 180"/>
                <a:gd name="T50" fmla="*/ 272 w 326"/>
                <a:gd name="T51" fmla="*/ 175 h 180"/>
                <a:gd name="T52" fmla="*/ 279 w 326"/>
                <a:gd name="T53" fmla="*/ 176 h 180"/>
                <a:gd name="T54" fmla="*/ 322 w 326"/>
                <a:gd name="T55" fmla="*/ 132 h 180"/>
                <a:gd name="T56" fmla="*/ 279 w 326"/>
                <a:gd name="T57" fmla="*/ 89 h 180"/>
                <a:gd name="T58" fmla="*/ 278 w 326"/>
                <a:gd name="T59" fmla="*/ 89 h 180"/>
                <a:gd name="T60" fmla="*/ 276 w 326"/>
                <a:gd name="T61" fmla="*/ 89 h 180"/>
                <a:gd name="T62" fmla="*/ 276 w 326"/>
                <a:gd name="T63" fmla="*/ 87 h 180"/>
                <a:gd name="T64" fmla="*/ 245 w 326"/>
                <a:gd name="T65" fmla="*/ 58 h 180"/>
                <a:gd name="T66" fmla="*/ 240 w 326"/>
                <a:gd name="T67" fmla="*/ 59 h 180"/>
                <a:gd name="T68" fmla="*/ 239 w 326"/>
                <a:gd name="T69" fmla="*/ 59 h 180"/>
                <a:gd name="T70" fmla="*/ 238 w 326"/>
                <a:gd name="T71" fmla="*/ 57 h 180"/>
                <a:gd name="T72" fmla="*/ 187 w 326"/>
                <a:gd name="T73" fmla="*/ 20 h 180"/>
                <a:gd name="T74" fmla="*/ 155 w 326"/>
                <a:gd name="T75" fmla="*/ 30 h 180"/>
                <a:gd name="T76" fmla="*/ 153 w 326"/>
                <a:gd name="T77" fmla="*/ 31 h 180"/>
                <a:gd name="T78" fmla="*/ 152 w 326"/>
                <a:gd name="T79" fmla="*/ 30 h 180"/>
                <a:gd name="T80" fmla="*/ 100 w 326"/>
                <a:gd name="T81" fmla="*/ 4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26" h="180">
                  <a:moveTo>
                    <a:pt x="279" y="180"/>
                  </a:moveTo>
                  <a:cubicBezTo>
                    <a:pt x="276" y="180"/>
                    <a:pt x="274" y="179"/>
                    <a:pt x="271" y="179"/>
                  </a:cubicBezTo>
                  <a:cubicBezTo>
                    <a:pt x="45" y="179"/>
                    <a:pt x="45" y="179"/>
                    <a:pt x="45" y="179"/>
                  </a:cubicBezTo>
                  <a:cubicBezTo>
                    <a:pt x="28" y="179"/>
                    <a:pt x="13" y="169"/>
                    <a:pt x="6" y="153"/>
                  </a:cubicBezTo>
                  <a:cubicBezTo>
                    <a:pt x="2" y="146"/>
                    <a:pt x="0" y="137"/>
                    <a:pt x="0" y="129"/>
                  </a:cubicBezTo>
                  <a:cubicBezTo>
                    <a:pt x="0" y="109"/>
                    <a:pt x="13" y="90"/>
                    <a:pt x="32" y="82"/>
                  </a:cubicBezTo>
                  <a:cubicBezTo>
                    <a:pt x="31" y="78"/>
                    <a:pt x="30" y="74"/>
                    <a:pt x="30" y="70"/>
                  </a:cubicBezTo>
                  <a:cubicBezTo>
                    <a:pt x="30" y="32"/>
                    <a:pt x="62" y="0"/>
                    <a:pt x="100" y="0"/>
                  </a:cubicBezTo>
                  <a:cubicBezTo>
                    <a:pt x="121" y="0"/>
                    <a:pt x="141" y="10"/>
                    <a:pt x="154" y="26"/>
                  </a:cubicBezTo>
                  <a:cubicBezTo>
                    <a:pt x="164" y="19"/>
                    <a:pt x="175" y="16"/>
                    <a:pt x="187" y="16"/>
                  </a:cubicBezTo>
                  <a:cubicBezTo>
                    <a:pt x="212" y="16"/>
                    <a:pt x="233" y="31"/>
                    <a:pt x="242" y="55"/>
                  </a:cubicBezTo>
                  <a:cubicBezTo>
                    <a:pt x="243" y="54"/>
                    <a:pt x="244" y="54"/>
                    <a:pt x="245" y="54"/>
                  </a:cubicBezTo>
                  <a:cubicBezTo>
                    <a:pt x="263" y="54"/>
                    <a:pt x="278" y="68"/>
                    <a:pt x="280" y="85"/>
                  </a:cubicBezTo>
                  <a:cubicBezTo>
                    <a:pt x="305" y="86"/>
                    <a:pt x="326" y="107"/>
                    <a:pt x="326" y="132"/>
                  </a:cubicBezTo>
                  <a:cubicBezTo>
                    <a:pt x="326" y="158"/>
                    <a:pt x="305" y="180"/>
                    <a:pt x="279" y="180"/>
                  </a:cubicBezTo>
                  <a:close/>
                  <a:moveTo>
                    <a:pt x="100" y="4"/>
                  </a:moveTo>
                  <a:cubicBezTo>
                    <a:pt x="64" y="4"/>
                    <a:pt x="34" y="34"/>
                    <a:pt x="34" y="70"/>
                  </a:cubicBezTo>
                  <a:cubicBezTo>
                    <a:pt x="34" y="75"/>
                    <a:pt x="35" y="79"/>
                    <a:pt x="36" y="83"/>
                  </a:cubicBezTo>
                  <a:cubicBezTo>
                    <a:pt x="36" y="85"/>
                    <a:pt x="36" y="85"/>
                    <a:pt x="36" y="85"/>
                  </a:cubicBezTo>
                  <a:cubicBezTo>
                    <a:pt x="35" y="86"/>
                    <a:pt x="35" y="86"/>
                    <a:pt x="35" y="86"/>
                  </a:cubicBezTo>
                  <a:cubicBezTo>
                    <a:pt x="16" y="92"/>
                    <a:pt x="4" y="110"/>
                    <a:pt x="4" y="129"/>
                  </a:cubicBezTo>
                  <a:cubicBezTo>
                    <a:pt x="4" y="137"/>
                    <a:pt x="6" y="144"/>
                    <a:pt x="10" y="151"/>
                  </a:cubicBezTo>
                  <a:cubicBezTo>
                    <a:pt x="10" y="151"/>
                    <a:pt x="10" y="151"/>
                    <a:pt x="10" y="151"/>
                  </a:cubicBezTo>
                  <a:cubicBezTo>
                    <a:pt x="16" y="166"/>
                    <a:pt x="30" y="175"/>
                    <a:pt x="45" y="175"/>
                  </a:cubicBezTo>
                  <a:cubicBezTo>
                    <a:pt x="271" y="175"/>
                    <a:pt x="271" y="175"/>
                    <a:pt x="271" y="175"/>
                  </a:cubicBezTo>
                  <a:cubicBezTo>
                    <a:pt x="272" y="175"/>
                    <a:pt x="272" y="175"/>
                    <a:pt x="272" y="175"/>
                  </a:cubicBezTo>
                  <a:cubicBezTo>
                    <a:pt x="274" y="175"/>
                    <a:pt x="276" y="176"/>
                    <a:pt x="279" y="176"/>
                  </a:cubicBezTo>
                  <a:cubicBezTo>
                    <a:pt x="303" y="176"/>
                    <a:pt x="322" y="156"/>
                    <a:pt x="322" y="132"/>
                  </a:cubicBezTo>
                  <a:cubicBezTo>
                    <a:pt x="322" y="109"/>
                    <a:pt x="303" y="89"/>
                    <a:pt x="279" y="89"/>
                  </a:cubicBezTo>
                  <a:cubicBezTo>
                    <a:pt x="279" y="89"/>
                    <a:pt x="278" y="89"/>
                    <a:pt x="278" y="89"/>
                  </a:cubicBezTo>
                  <a:cubicBezTo>
                    <a:pt x="276" y="89"/>
                    <a:pt x="276" y="89"/>
                    <a:pt x="276" y="89"/>
                  </a:cubicBezTo>
                  <a:cubicBezTo>
                    <a:pt x="276" y="87"/>
                    <a:pt x="276" y="87"/>
                    <a:pt x="276" y="87"/>
                  </a:cubicBezTo>
                  <a:cubicBezTo>
                    <a:pt x="275" y="71"/>
                    <a:pt x="261" y="58"/>
                    <a:pt x="245" y="58"/>
                  </a:cubicBezTo>
                  <a:cubicBezTo>
                    <a:pt x="243" y="58"/>
                    <a:pt x="242" y="59"/>
                    <a:pt x="240" y="59"/>
                  </a:cubicBezTo>
                  <a:cubicBezTo>
                    <a:pt x="239" y="59"/>
                    <a:pt x="239" y="59"/>
                    <a:pt x="239" y="59"/>
                  </a:cubicBezTo>
                  <a:cubicBezTo>
                    <a:pt x="238" y="57"/>
                    <a:pt x="238" y="57"/>
                    <a:pt x="238" y="57"/>
                  </a:cubicBezTo>
                  <a:cubicBezTo>
                    <a:pt x="231" y="35"/>
                    <a:pt x="210" y="20"/>
                    <a:pt x="187" y="20"/>
                  </a:cubicBezTo>
                  <a:cubicBezTo>
                    <a:pt x="175" y="20"/>
                    <a:pt x="164" y="23"/>
                    <a:pt x="155" y="30"/>
                  </a:cubicBezTo>
                  <a:cubicBezTo>
                    <a:pt x="153" y="31"/>
                    <a:pt x="153" y="31"/>
                    <a:pt x="153" y="31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39" y="14"/>
                    <a:pt x="121" y="4"/>
                    <a:pt x="100" y="4"/>
                  </a:cubicBezTo>
                  <a:close/>
                </a:path>
              </a:pathLst>
            </a:custGeom>
            <a:solidFill>
              <a:srgbClr val="34697F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26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4078427" y="5460984"/>
            <a:ext cx="2844943" cy="431800"/>
          </a:xfrm>
          <a:prstGeom prst="rect">
            <a:avLst/>
          </a:prstGeom>
        </p:spPr>
        <p:txBody>
          <a:bodyPr rIns="0" anchor="b"/>
          <a:lstStyle>
            <a:lvl1pPr algn="r">
              <a:defRPr sz="1200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Presenter Name</a:t>
            </a:r>
            <a:endParaRPr lang="tr-TR" dirty="0"/>
          </a:p>
        </p:txBody>
      </p:sp>
      <p:sp>
        <p:nvSpPr>
          <p:cNvPr id="27" name="Title 1"/>
          <p:cNvSpPr>
            <a:spLocks noGrp="1"/>
          </p:cNvSpPr>
          <p:nvPr>
            <p:ph type="ctrTitle" hasCustomPrompt="1"/>
          </p:nvPr>
        </p:nvSpPr>
        <p:spPr>
          <a:xfrm>
            <a:off x="822960" y="640080"/>
            <a:ext cx="5585018" cy="2630356"/>
          </a:xfrm>
          <a:prstGeom prst="rect">
            <a:avLst/>
          </a:prstGeom>
        </p:spPr>
        <p:txBody>
          <a:bodyPr lIns="0" anchor="t"/>
          <a:lstStyle>
            <a:lvl1pPr algn="l">
              <a:lnSpc>
                <a:spcPct val="80000"/>
              </a:lnSpc>
              <a:defRPr sz="7200"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over Slide Title</a:t>
            </a:r>
          </a:p>
        </p:txBody>
      </p:sp>
      <p:sp>
        <p:nvSpPr>
          <p:cNvPr id="30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822960" y="3383280"/>
            <a:ext cx="5578857" cy="431800"/>
          </a:xfrm>
          <a:prstGeom prst="rect">
            <a:avLst/>
          </a:prstGeom>
        </p:spPr>
        <p:txBody>
          <a:bodyPr lIns="0" anchor="ctr" anchorCtr="0"/>
          <a:lstStyle>
            <a:lvl1pPr algn="l">
              <a:defRPr sz="2400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econd Level Title</a:t>
            </a:r>
            <a:endParaRPr lang="tr-TR" dirty="0"/>
          </a:p>
        </p:txBody>
      </p:sp>
      <p:sp>
        <p:nvSpPr>
          <p:cNvPr id="31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078427" y="5892928"/>
            <a:ext cx="2844943" cy="431800"/>
          </a:xfrm>
          <a:prstGeom prst="rect">
            <a:avLst/>
          </a:prstGeom>
        </p:spPr>
        <p:txBody>
          <a:bodyPr rIns="0" anchor="b"/>
          <a:lstStyle>
            <a:lvl1pPr algn="r">
              <a:defRPr sz="1800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Date</a:t>
            </a:r>
            <a:endParaRPr lang="tr-TR" dirty="0"/>
          </a:p>
        </p:txBody>
      </p:sp>
      <p:sp>
        <p:nvSpPr>
          <p:cNvPr id="32" name="Picture Placeholder 5"/>
          <p:cNvSpPr>
            <a:spLocks noGrp="1"/>
          </p:cNvSpPr>
          <p:nvPr>
            <p:ph type="pic" sz="quarter" idx="14" hasCustomPrompt="1"/>
          </p:nvPr>
        </p:nvSpPr>
        <p:spPr>
          <a:xfrm>
            <a:off x="7751365" y="1"/>
            <a:ext cx="4440635" cy="3383280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algn="ctr">
              <a:defRPr sz="320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28" name="Rectangle 27"/>
          <p:cNvSpPr/>
          <p:nvPr userDrawn="1"/>
        </p:nvSpPr>
        <p:spPr>
          <a:xfrm>
            <a:off x="7749346" y="3375049"/>
            <a:ext cx="4442654" cy="118872"/>
          </a:xfrm>
          <a:prstGeom prst="rect">
            <a:avLst/>
          </a:prstGeom>
          <a:solidFill>
            <a:srgbClr val="043B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xmlns="" id="{0860573B-7502-4EE6-AE67-B3B2FFD71F32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9472900" y="5931510"/>
            <a:ext cx="2192529" cy="292877"/>
            <a:chOff x="279400" y="2781300"/>
            <a:chExt cx="8585200" cy="1092200"/>
          </a:xfrm>
        </p:grpSpPr>
        <p:sp>
          <p:nvSpPr>
            <p:cNvPr id="33" name="Freeform 5">
              <a:extLst>
                <a:ext uri="{FF2B5EF4-FFF2-40B4-BE49-F238E27FC236}">
                  <a16:creationId xmlns:a16="http://schemas.microsoft.com/office/drawing/2014/main" xmlns="" id="{264CBBCF-7D70-4513-96B2-BDE78A1BE2AC}"/>
                </a:ext>
              </a:extLst>
            </p:cNvPr>
            <p:cNvSpPr>
              <a:spLocks/>
            </p:cNvSpPr>
            <p:nvPr/>
          </p:nvSpPr>
          <p:spPr bwMode="auto">
            <a:xfrm>
              <a:off x="4605338" y="2816225"/>
              <a:ext cx="958850" cy="1035050"/>
            </a:xfrm>
            <a:custGeom>
              <a:avLst/>
              <a:gdLst>
                <a:gd name="T0" fmla="*/ 142 w 604"/>
                <a:gd name="T1" fmla="*/ 272 h 652"/>
                <a:gd name="T2" fmla="*/ 142 w 604"/>
                <a:gd name="T3" fmla="*/ 57 h 652"/>
                <a:gd name="T4" fmla="*/ 206 w 604"/>
                <a:gd name="T5" fmla="*/ 57 h 652"/>
                <a:gd name="T6" fmla="*/ 206 w 604"/>
                <a:gd name="T7" fmla="*/ 0 h 652"/>
                <a:gd name="T8" fmla="*/ 0 w 604"/>
                <a:gd name="T9" fmla="*/ 0 h 652"/>
                <a:gd name="T10" fmla="*/ 0 w 604"/>
                <a:gd name="T11" fmla="*/ 57 h 652"/>
                <a:gd name="T12" fmla="*/ 64 w 604"/>
                <a:gd name="T13" fmla="*/ 57 h 652"/>
                <a:gd name="T14" fmla="*/ 64 w 604"/>
                <a:gd name="T15" fmla="*/ 587 h 652"/>
                <a:gd name="T16" fmla="*/ 0 w 604"/>
                <a:gd name="T17" fmla="*/ 587 h 652"/>
                <a:gd name="T18" fmla="*/ 0 w 604"/>
                <a:gd name="T19" fmla="*/ 652 h 652"/>
                <a:gd name="T20" fmla="*/ 206 w 604"/>
                <a:gd name="T21" fmla="*/ 652 h 652"/>
                <a:gd name="T22" fmla="*/ 206 w 604"/>
                <a:gd name="T23" fmla="*/ 587 h 652"/>
                <a:gd name="T24" fmla="*/ 142 w 604"/>
                <a:gd name="T25" fmla="*/ 587 h 652"/>
                <a:gd name="T26" fmla="*/ 142 w 604"/>
                <a:gd name="T27" fmla="*/ 329 h 652"/>
                <a:gd name="T28" fmla="*/ 462 w 604"/>
                <a:gd name="T29" fmla="*/ 329 h 652"/>
                <a:gd name="T30" fmla="*/ 462 w 604"/>
                <a:gd name="T31" fmla="*/ 587 h 652"/>
                <a:gd name="T32" fmla="*/ 398 w 604"/>
                <a:gd name="T33" fmla="*/ 587 h 652"/>
                <a:gd name="T34" fmla="*/ 398 w 604"/>
                <a:gd name="T35" fmla="*/ 652 h 652"/>
                <a:gd name="T36" fmla="*/ 604 w 604"/>
                <a:gd name="T37" fmla="*/ 652 h 652"/>
                <a:gd name="T38" fmla="*/ 604 w 604"/>
                <a:gd name="T39" fmla="*/ 587 h 652"/>
                <a:gd name="T40" fmla="*/ 540 w 604"/>
                <a:gd name="T41" fmla="*/ 587 h 652"/>
                <a:gd name="T42" fmla="*/ 540 w 604"/>
                <a:gd name="T43" fmla="*/ 57 h 652"/>
                <a:gd name="T44" fmla="*/ 604 w 604"/>
                <a:gd name="T45" fmla="*/ 57 h 652"/>
                <a:gd name="T46" fmla="*/ 604 w 604"/>
                <a:gd name="T47" fmla="*/ 0 h 652"/>
                <a:gd name="T48" fmla="*/ 398 w 604"/>
                <a:gd name="T49" fmla="*/ 0 h 652"/>
                <a:gd name="T50" fmla="*/ 398 w 604"/>
                <a:gd name="T51" fmla="*/ 57 h 652"/>
                <a:gd name="T52" fmla="*/ 462 w 604"/>
                <a:gd name="T53" fmla="*/ 57 h 652"/>
                <a:gd name="T54" fmla="*/ 462 w 604"/>
                <a:gd name="T55" fmla="*/ 272 h 652"/>
                <a:gd name="T56" fmla="*/ 142 w 604"/>
                <a:gd name="T57" fmla="*/ 272 h 6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604" h="652">
                  <a:moveTo>
                    <a:pt x="142" y="272"/>
                  </a:moveTo>
                  <a:lnTo>
                    <a:pt x="142" y="57"/>
                  </a:lnTo>
                  <a:lnTo>
                    <a:pt x="206" y="57"/>
                  </a:lnTo>
                  <a:lnTo>
                    <a:pt x="206" y="0"/>
                  </a:lnTo>
                  <a:lnTo>
                    <a:pt x="0" y="0"/>
                  </a:lnTo>
                  <a:lnTo>
                    <a:pt x="0" y="57"/>
                  </a:lnTo>
                  <a:lnTo>
                    <a:pt x="64" y="57"/>
                  </a:lnTo>
                  <a:lnTo>
                    <a:pt x="64" y="587"/>
                  </a:lnTo>
                  <a:lnTo>
                    <a:pt x="0" y="587"/>
                  </a:lnTo>
                  <a:lnTo>
                    <a:pt x="0" y="652"/>
                  </a:lnTo>
                  <a:lnTo>
                    <a:pt x="206" y="652"/>
                  </a:lnTo>
                  <a:lnTo>
                    <a:pt x="206" y="587"/>
                  </a:lnTo>
                  <a:lnTo>
                    <a:pt x="142" y="587"/>
                  </a:lnTo>
                  <a:lnTo>
                    <a:pt x="142" y="329"/>
                  </a:lnTo>
                  <a:lnTo>
                    <a:pt x="462" y="329"/>
                  </a:lnTo>
                  <a:lnTo>
                    <a:pt x="462" y="587"/>
                  </a:lnTo>
                  <a:lnTo>
                    <a:pt x="398" y="587"/>
                  </a:lnTo>
                  <a:lnTo>
                    <a:pt x="398" y="652"/>
                  </a:lnTo>
                  <a:lnTo>
                    <a:pt x="604" y="652"/>
                  </a:lnTo>
                  <a:lnTo>
                    <a:pt x="604" y="587"/>
                  </a:lnTo>
                  <a:lnTo>
                    <a:pt x="540" y="587"/>
                  </a:lnTo>
                  <a:lnTo>
                    <a:pt x="540" y="57"/>
                  </a:lnTo>
                  <a:lnTo>
                    <a:pt x="604" y="57"/>
                  </a:lnTo>
                  <a:lnTo>
                    <a:pt x="604" y="0"/>
                  </a:lnTo>
                  <a:lnTo>
                    <a:pt x="398" y="0"/>
                  </a:lnTo>
                  <a:lnTo>
                    <a:pt x="398" y="57"/>
                  </a:lnTo>
                  <a:lnTo>
                    <a:pt x="462" y="57"/>
                  </a:lnTo>
                  <a:lnTo>
                    <a:pt x="462" y="272"/>
                  </a:lnTo>
                  <a:lnTo>
                    <a:pt x="142" y="27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4" name="Freeform 6">
              <a:extLst>
                <a:ext uri="{FF2B5EF4-FFF2-40B4-BE49-F238E27FC236}">
                  <a16:creationId xmlns:a16="http://schemas.microsoft.com/office/drawing/2014/main" xmlns="" id="{CB55B7D8-3723-4CA7-83E2-4ECF2520F18B}"/>
                </a:ext>
              </a:extLst>
            </p:cNvPr>
            <p:cNvSpPr>
              <a:spLocks/>
            </p:cNvSpPr>
            <p:nvPr/>
          </p:nvSpPr>
          <p:spPr bwMode="auto">
            <a:xfrm>
              <a:off x="8042275" y="2816225"/>
              <a:ext cx="822325" cy="1035050"/>
            </a:xfrm>
            <a:custGeom>
              <a:avLst/>
              <a:gdLst>
                <a:gd name="T0" fmla="*/ 27 w 73"/>
                <a:gd name="T1" fmla="*/ 82 h 91"/>
                <a:gd name="T2" fmla="*/ 19 w 73"/>
                <a:gd name="T3" fmla="*/ 82 h 91"/>
                <a:gd name="T4" fmla="*/ 19 w 73"/>
                <a:gd name="T5" fmla="*/ 54 h 91"/>
                <a:gd name="T6" fmla="*/ 37 w 73"/>
                <a:gd name="T7" fmla="*/ 35 h 91"/>
                <a:gd name="T8" fmla="*/ 55 w 73"/>
                <a:gd name="T9" fmla="*/ 54 h 91"/>
                <a:gd name="T10" fmla="*/ 55 w 73"/>
                <a:gd name="T11" fmla="*/ 82 h 91"/>
                <a:gd name="T12" fmla="*/ 46 w 73"/>
                <a:gd name="T13" fmla="*/ 82 h 91"/>
                <a:gd name="T14" fmla="*/ 46 w 73"/>
                <a:gd name="T15" fmla="*/ 91 h 91"/>
                <a:gd name="T16" fmla="*/ 73 w 73"/>
                <a:gd name="T17" fmla="*/ 91 h 91"/>
                <a:gd name="T18" fmla="*/ 73 w 73"/>
                <a:gd name="T19" fmla="*/ 82 h 91"/>
                <a:gd name="T20" fmla="*/ 65 w 73"/>
                <a:gd name="T21" fmla="*/ 82 h 91"/>
                <a:gd name="T22" fmla="*/ 65 w 73"/>
                <a:gd name="T23" fmla="*/ 54 h 91"/>
                <a:gd name="T24" fmla="*/ 38 w 73"/>
                <a:gd name="T25" fmla="*/ 26 h 91"/>
                <a:gd name="T26" fmla="*/ 19 w 73"/>
                <a:gd name="T27" fmla="*/ 35 h 91"/>
                <a:gd name="T28" fmla="*/ 19 w 73"/>
                <a:gd name="T29" fmla="*/ 0 h 91"/>
                <a:gd name="T30" fmla="*/ 0 w 73"/>
                <a:gd name="T31" fmla="*/ 0 h 91"/>
                <a:gd name="T32" fmla="*/ 0 w 73"/>
                <a:gd name="T33" fmla="*/ 8 h 91"/>
                <a:gd name="T34" fmla="*/ 9 w 73"/>
                <a:gd name="T35" fmla="*/ 8 h 91"/>
                <a:gd name="T36" fmla="*/ 9 w 73"/>
                <a:gd name="T37" fmla="*/ 82 h 91"/>
                <a:gd name="T38" fmla="*/ 0 w 73"/>
                <a:gd name="T39" fmla="*/ 82 h 91"/>
                <a:gd name="T40" fmla="*/ 0 w 73"/>
                <a:gd name="T41" fmla="*/ 91 h 91"/>
                <a:gd name="T42" fmla="*/ 27 w 73"/>
                <a:gd name="T43" fmla="*/ 91 h 91"/>
                <a:gd name="T44" fmla="*/ 27 w 73"/>
                <a:gd name="T45" fmla="*/ 82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3" h="91">
                  <a:moveTo>
                    <a:pt x="27" y="82"/>
                  </a:moveTo>
                  <a:cubicBezTo>
                    <a:pt x="19" y="82"/>
                    <a:pt x="19" y="82"/>
                    <a:pt x="19" y="82"/>
                  </a:cubicBezTo>
                  <a:cubicBezTo>
                    <a:pt x="19" y="54"/>
                    <a:pt x="19" y="54"/>
                    <a:pt x="19" y="54"/>
                  </a:cubicBezTo>
                  <a:cubicBezTo>
                    <a:pt x="19" y="41"/>
                    <a:pt x="25" y="35"/>
                    <a:pt x="37" y="35"/>
                  </a:cubicBezTo>
                  <a:cubicBezTo>
                    <a:pt x="48" y="35"/>
                    <a:pt x="55" y="41"/>
                    <a:pt x="55" y="54"/>
                  </a:cubicBezTo>
                  <a:cubicBezTo>
                    <a:pt x="55" y="82"/>
                    <a:pt x="55" y="82"/>
                    <a:pt x="55" y="82"/>
                  </a:cubicBezTo>
                  <a:cubicBezTo>
                    <a:pt x="46" y="82"/>
                    <a:pt x="46" y="82"/>
                    <a:pt x="46" y="82"/>
                  </a:cubicBezTo>
                  <a:cubicBezTo>
                    <a:pt x="46" y="91"/>
                    <a:pt x="46" y="91"/>
                    <a:pt x="46" y="91"/>
                  </a:cubicBezTo>
                  <a:cubicBezTo>
                    <a:pt x="73" y="91"/>
                    <a:pt x="73" y="91"/>
                    <a:pt x="73" y="91"/>
                  </a:cubicBezTo>
                  <a:cubicBezTo>
                    <a:pt x="73" y="82"/>
                    <a:pt x="73" y="82"/>
                    <a:pt x="73" y="82"/>
                  </a:cubicBezTo>
                  <a:cubicBezTo>
                    <a:pt x="65" y="82"/>
                    <a:pt x="65" y="82"/>
                    <a:pt x="65" y="82"/>
                  </a:cubicBezTo>
                  <a:cubicBezTo>
                    <a:pt x="65" y="54"/>
                    <a:pt x="65" y="54"/>
                    <a:pt x="65" y="54"/>
                  </a:cubicBezTo>
                  <a:cubicBezTo>
                    <a:pt x="65" y="39"/>
                    <a:pt x="55" y="26"/>
                    <a:pt x="38" y="26"/>
                  </a:cubicBezTo>
                  <a:cubicBezTo>
                    <a:pt x="30" y="26"/>
                    <a:pt x="23" y="29"/>
                    <a:pt x="19" y="35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82"/>
                    <a:pt x="9" y="82"/>
                    <a:pt x="9" y="82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0" y="91"/>
                    <a:pt x="0" y="91"/>
                    <a:pt x="0" y="91"/>
                  </a:cubicBezTo>
                  <a:cubicBezTo>
                    <a:pt x="27" y="91"/>
                    <a:pt x="27" y="91"/>
                    <a:pt x="27" y="91"/>
                  </a:cubicBezTo>
                  <a:lnTo>
                    <a:pt x="27" y="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5" name="Freeform 7">
              <a:extLst>
                <a:ext uri="{FF2B5EF4-FFF2-40B4-BE49-F238E27FC236}">
                  <a16:creationId xmlns:a16="http://schemas.microsoft.com/office/drawing/2014/main" xmlns="" id="{66826270-096D-4A0F-B57D-78D557210E9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19850" y="3111500"/>
              <a:ext cx="822325" cy="750888"/>
            </a:xfrm>
            <a:custGeom>
              <a:avLst/>
              <a:gdLst>
                <a:gd name="T0" fmla="*/ 73 w 73"/>
                <a:gd name="T1" fmla="*/ 10 h 66"/>
                <a:gd name="T2" fmla="*/ 73 w 73"/>
                <a:gd name="T3" fmla="*/ 2 h 66"/>
                <a:gd name="T4" fmla="*/ 54 w 73"/>
                <a:gd name="T5" fmla="*/ 2 h 66"/>
                <a:gd name="T6" fmla="*/ 54 w 73"/>
                <a:gd name="T7" fmla="*/ 11 h 66"/>
                <a:gd name="T8" fmla="*/ 31 w 73"/>
                <a:gd name="T9" fmla="*/ 0 h 66"/>
                <a:gd name="T10" fmla="*/ 0 w 73"/>
                <a:gd name="T11" fmla="*/ 33 h 66"/>
                <a:gd name="T12" fmla="*/ 31 w 73"/>
                <a:gd name="T13" fmla="*/ 66 h 66"/>
                <a:gd name="T14" fmla="*/ 54 w 73"/>
                <a:gd name="T15" fmla="*/ 55 h 66"/>
                <a:gd name="T16" fmla="*/ 54 w 73"/>
                <a:gd name="T17" fmla="*/ 65 h 66"/>
                <a:gd name="T18" fmla="*/ 73 w 73"/>
                <a:gd name="T19" fmla="*/ 65 h 66"/>
                <a:gd name="T20" fmla="*/ 73 w 73"/>
                <a:gd name="T21" fmla="*/ 56 h 66"/>
                <a:gd name="T22" fmla="*/ 64 w 73"/>
                <a:gd name="T23" fmla="*/ 56 h 66"/>
                <a:gd name="T24" fmla="*/ 64 w 73"/>
                <a:gd name="T25" fmla="*/ 10 h 66"/>
                <a:gd name="T26" fmla="*/ 73 w 73"/>
                <a:gd name="T27" fmla="*/ 10 h 66"/>
                <a:gd name="T28" fmla="*/ 33 w 73"/>
                <a:gd name="T29" fmla="*/ 58 h 66"/>
                <a:gd name="T30" fmla="*/ 11 w 73"/>
                <a:gd name="T31" fmla="*/ 33 h 66"/>
                <a:gd name="T32" fmla="*/ 33 w 73"/>
                <a:gd name="T33" fmla="*/ 9 h 66"/>
                <a:gd name="T34" fmla="*/ 54 w 73"/>
                <a:gd name="T35" fmla="*/ 33 h 66"/>
                <a:gd name="T36" fmla="*/ 33 w 73"/>
                <a:gd name="T37" fmla="*/ 5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3" h="66">
                  <a:moveTo>
                    <a:pt x="73" y="10"/>
                  </a:moveTo>
                  <a:cubicBezTo>
                    <a:pt x="73" y="2"/>
                    <a:pt x="73" y="2"/>
                    <a:pt x="73" y="2"/>
                  </a:cubicBezTo>
                  <a:cubicBezTo>
                    <a:pt x="54" y="2"/>
                    <a:pt x="54" y="2"/>
                    <a:pt x="54" y="2"/>
                  </a:cubicBezTo>
                  <a:cubicBezTo>
                    <a:pt x="54" y="11"/>
                    <a:pt x="54" y="11"/>
                    <a:pt x="54" y="11"/>
                  </a:cubicBezTo>
                  <a:cubicBezTo>
                    <a:pt x="49" y="4"/>
                    <a:pt x="41" y="0"/>
                    <a:pt x="31" y="0"/>
                  </a:cubicBezTo>
                  <a:cubicBezTo>
                    <a:pt x="13" y="0"/>
                    <a:pt x="0" y="14"/>
                    <a:pt x="0" y="33"/>
                  </a:cubicBezTo>
                  <a:cubicBezTo>
                    <a:pt x="0" y="52"/>
                    <a:pt x="13" y="66"/>
                    <a:pt x="31" y="66"/>
                  </a:cubicBezTo>
                  <a:cubicBezTo>
                    <a:pt x="41" y="66"/>
                    <a:pt x="49" y="62"/>
                    <a:pt x="54" y="55"/>
                  </a:cubicBezTo>
                  <a:cubicBezTo>
                    <a:pt x="54" y="65"/>
                    <a:pt x="54" y="65"/>
                    <a:pt x="54" y="65"/>
                  </a:cubicBezTo>
                  <a:cubicBezTo>
                    <a:pt x="73" y="65"/>
                    <a:pt x="73" y="65"/>
                    <a:pt x="73" y="65"/>
                  </a:cubicBezTo>
                  <a:cubicBezTo>
                    <a:pt x="73" y="56"/>
                    <a:pt x="73" y="56"/>
                    <a:pt x="73" y="56"/>
                  </a:cubicBezTo>
                  <a:cubicBezTo>
                    <a:pt x="64" y="56"/>
                    <a:pt x="64" y="56"/>
                    <a:pt x="64" y="56"/>
                  </a:cubicBezTo>
                  <a:cubicBezTo>
                    <a:pt x="64" y="10"/>
                    <a:pt x="64" y="10"/>
                    <a:pt x="64" y="10"/>
                  </a:cubicBezTo>
                  <a:lnTo>
                    <a:pt x="73" y="10"/>
                  </a:lnTo>
                  <a:close/>
                  <a:moveTo>
                    <a:pt x="33" y="58"/>
                  </a:moveTo>
                  <a:cubicBezTo>
                    <a:pt x="20" y="58"/>
                    <a:pt x="11" y="47"/>
                    <a:pt x="11" y="33"/>
                  </a:cubicBezTo>
                  <a:cubicBezTo>
                    <a:pt x="11" y="19"/>
                    <a:pt x="20" y="9"/>
                    <a:pt x="33" y="9"/>
                  </a:cubicBezTo>
                  <a:cubicBezTo>
                    <a:pt x="46" y="9"/>
                    <a:pt x="54" y="19"/>
                    <a:pt x="54" y="33"/>
                  </a:cubicBezTo>
                  <a:cubicBezTo>
                    <a:pt x="54" y="47"/>
                    <a:pt x="46" y="58"/>
                    <a:pt x="33" y="58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6" name="Freeform 8">
              <a:extLst>
                <a:ext uri="{FF2B5EF4-FFF2-40B4-BE49-F238E27FC236}">
                  <a16:creationId xmlns:a16="http://schemas.microsoft.com/office/drawing/2014/main" xmlns="" id="{D644210C-71FB-46C2-BB06-3DAD03BC87A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08638" y="3111500"/>
              <a:ext cx="731838" cy="750888"/>
            </a:xfrm>
            <a:custGeom>
              <a:avLst/>
              <a:gdLst>
                <a:gd name="T0" fmla="*/ 65 w 65"/>
                <a:gd name="T1" fmla="*/ 32 h 66"/>
                <a:gd name="T2" fmla="*/ 33 w 65"/>
                <a:gd name="T3" fmla="*/ 0 h 66"/>
                <a:gd name="T4" fmla="*/ 0 w 65"/>
                <a:gd name="T5" fmla="*/ 33 h 66"/>
                <a:gd name="T6" fmla="*/ 33 w 65"/>
                <a:gd name="T7" fmla="*/ 66 h 66"/>
                <a:gd name="T8" fmla="*/ 63 w 65"/>
                <a:gd name="T9" fmla="*/ 48 h 66"/>
                <a:gd name="T10" fmla="*/ 53 w 65"/>
                <a:gd name="T11" fmla="*/ 48 h 66"/>
                <a:gd name="T12" fmla="*/ 34 w 65"/>
                <a:gd name="T13" fmla="*/ 58 h 66"/>
                <a:gd name="T14" fmla="*/ 11 w 65"/>
                <a:gd name="T15" fmla="*/ 37 h 66"/>
                <a:gd name="T16" fmla="*/ 65 w 65"/>
                <a:gd name="T17" fmla="*/ 37 h 66"/>
                <a:gd name="T18" fmla="*/ 65 w 65"/>
                <a:gd name="T19" fmla="*/ 32 h 66"/>
                <a:gd name="T20" fmla="*/ 11 w 65"/>
                <a:gd name="T21" fmla="*/ 28 h 66"/>
                <a:gd name="T22" fmla="*/ 33 w 65"/>
                <a:gd name="T23" fmla="*/ 8 h 66"/>
                <a:gd name="T24" fmla="*/ 55 w 65"/>
                <a:gd name="T25" fmla="*/ 28 h 66"/>
                <a:gd name="T26" fmla="*/ 11 w 65"/>
                <a:gd name="T27" fmla="*/ 2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5" h="66">
                  <a:moveTo>
                    <a:pt x="65" y="32"/>
                  </a:moveTo>
                  <a:cubicBezTo>
                    <a:pt x="65" y="13"/>
                    <a:pt x="53" y="0"/>
                    <a:pt x="33" y="0"/>
                  </a:cubicBezTo>
                  <a:cubicBezTo>
                    <a:pt x="14" y="0"/>
                    <a:pt x="0" y="14"/>
                    <a:pt x="0" y="33"/>
                  </a:cubicBezTo>
                  <a:cubicBezTo>
                    <a:pt x="0" y="53"/>
                    <a:pt x="14" y="66"/>
                    <a:pt x="33" y="66"/>
                  </a:cubicBezTo>
                  <a:cubicBezTo>
                    <a:pt x="47" y="66"/>
                    <a:pt x="58" y="59"/>
                    <a:pt x="63" y="48"/>
                  </a:cubicBezTo>
                  <a:cubicBezTo>
                    <a:pt x="53" y="48"/>
                    <a:pt x="53" y="48"/>
                    <a:pt x="53" y="48"/>
                  </a:cubicBezTo>
                  <a:cubicBezTo>
                    <a:pt x="50" y="54"/>
                    <a:pt x="43" y="58"/>
                    <a:pt x="34" y="58"/>
                  </a:cubicBezTo>
                  <a:cubicBezTo>
                    <a:pt x="19" y="58"/>
                    <a:pt x="12" y="49"/>
                    <a:pt x="11" y="37"/>
                  </a:cubicBezTo>
                  <a:cubicBezTo>
                    <a:pt x="65" y="37"/>
                    <a:pt x="65" y="37"/>
                    <a:pt x="65" y="37"/>
                  </a:cubicBezTo>
                  <a:lnTo>
                    <a:pt x="65" y="32"/>
                  </a:lnTo>
                  <a:close/>
                  <a:moveTo>
                    <a:pt x="11" y="28"/>
                  </a:moveTo>
                  <a:cubicBezTo>
                    <a:pt x="12" y="17"/>
                    <a:pt x="20" y="8"/>
                    <a:pt x="33" y="8"/>
                  </a:cubicBezTo>
                  <a:cubicBezTo>
                    <a:pt x="47" y="8"/>
                    <a:pt x="54" y="18"/>
                    <a:pt x="55" y="28"/>
                  </a:cubicBezTo>
                  <a:lnTo>
                    <a:pt x="11" y="2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7" name="Freeform 9">
              <a:extLst>
                <a:ext uri="{FF2B5EF4-FFF2-40B4-BE49-F238E27FC236}">
                  <a16:creationId xmlns:a16="http://schemas.microsoft.com/office/drawing/2014/main" xmlns="" id="{6BD464F9-CB86-4782-98A8-138D13B22E79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3650" y="2952750"/>
              <a:ext cx="360363" cy="898525"/>
            </a:xfrm>
            <a:custGeom>
              <a:avLst/>
              <a:gdLst>
                <a:gd name="T0" fmla="*/ 20 w 32"/>
                <a:gd name="T1" fmla="*/ 62 h 79"/>
                <a:gd name="T2" fmla="*/ 20 w 32"/>
                <a:gd name="T3" fmla="*/ 24 h 79"/>
                <a:gd name="T4" fmla="*/ 32 w 32"/>
                <a:gd name="T5" fmla="*/ 24 h 79"/>
                <a:gd name="T6" fmla="*/ 32 w 32"/>
                <a:gd name="T7" fmla="*/ 16 h 79"/>
                <a:gd name="T8" fmla="*/ 20 w 32"/>
                <a:gd name="T9" fmla="*/ 16 h 79"/>
                <a:gd name="T10" fmla="*/ 20 w 32"/>
                <a:gd name="T11" fmla="*/ 0 h 79"/>
                <a:gd name="T12" fmla="*/ 9 w 32"/>
                <a:gd name="T13" fmla="*/ 0 h 79"/>
                <a:gd name="T14" fmla="*/ 9 w 32"/>
                <a:gd name="T15" fmla="*/ 16 h 79"/>
                <a:gd name="T16" fmla="*/ 0 w 32"/>
                <a:gd name="T17" fmla="*/ 16 h 79"/>
                <a:gd name="T18" fmla="*/ 0 w 32"/>
                <a:gd name="T19" fmla="*/ 24 h 79"/>
                <a:gd name="T20" fmla="*/ 9 w 32"/>
                <a:gd name="T21" fmla="*/ 24 h 79"/>
                <a:gd name="T22" fmla="*/ 9 w 32"/>
                <a:gd name="T23" fmla="*/ 63 h 79"/>
                <a:gd name="T24" fmla="*/ 26 w 32"/>
                <a:gd name="T25" fmla="*/ 79 h 79"/>
                <a:gd name="T26" fmla="*/ 32 w 32"/>
                <a:gd name="T27" fmla="*/ 79 h 79"/>
                <a:gd name="T28" fmla="*/ 32 w 32"/>
                <a:gd name="T29" fmla="*/ 70 h 79"/>
                <a:gd name="T30" fmla="*/ 27 w 32"/>
                <a:gd name="T31" fmla="*/ 71 h 79"/>
                <a:gd name="T32" fmla="*/ 20 w 32"/>
                <a:gd name="T33" fmla="*/ 62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2" h="79">
                  <a:moveTo>
                    <a:pt x="20" y="62"/>
                  </a:moveTo>
                  <a:cubicBezTo>
                    <a:pt x="20" y="24"/>
                    <a:pt x="20" y="24"/>
                    <a:pt x="20" y="24"/>
                  </a:cubicBezTo>
                  <a:cubicBezTo>
                    <a:pt x="32" y="24"/>
                    <a:pt x="32" y="24"/>
                    <a:pt x="32" y="24"/>
                  </a:cubicBezTo>
                  <a:cubicBezTo>
                    <a:pt x="32" y="16"/>
                    <a:pt x="32" y="16"/>
                    <a:pt x="32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16"/>
                    <a:pt x="9" y="16"/>
                    <a:pt x="9" y="16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63"/>
                    <a:pt x="9" y="63"/>
                    <a:pt x="9" y="63"/>
                  </a:cubicBezTo>
                  <a:cubicBezTo>
                    <a:pt x="9" y="74"/>
                    <a:pt x="14" y="79"/>
                    <a:pt x="26" y="79"/>
                  </a:cubicBezTo>
                  <a:cubicBezTo>
                    <a:pt x="28" y="79"/>
                    <a:pt x="31" y="79"/>
                    <a:pt x="32" y="79"/>
                  </a:cubicBezTo>
                  <a:cubicBezTo>
                    <a:pt x="32" y="70"/>
                    <a:pt x="32" y="70"/>
                    <a:pt x="32" y="70"/>
                  </a:cubicBezTo>
                  <a:cubicBezTo>
                    <a:pt x="30" y="71"/>
                    <a:pt x="29" y="71"/>
                    <a:pt x="27" y="71"/>
                  </a:cubicBezTo>
                  <a:cubicBezTo>
                    <a:pt x="22" y="71"/>
                    <a:pt x="20" y="69"/>
                    <a:pt x="20" y="62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8" name="Freeform 10">
              <a:extLst>
                <a:ext uri="{FF2B5EF4-FFF2-40B4-BE49-F238E27FC236}">
                  <a16:creationId xmlns:a16="http://schemas.microsoft.com/office/drawing/2014/main" xmlns="" id="{4A8BDCE4-6FCC-47A7-9CDE-4AC06B36DA13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5513" y="2816225"/>
              <a:ext cx="338138" cy="1035050"/>
            </a:xfrm>
            <a:custGeom>
              <a:avLst/>
              <a:gdLst>
                <a:gd name="T0" fmla="*/ 24 w 30"/>
                <a:gd name="T1" fmla="*/ 91 h 91"/>
                <a:gd name="T2" fmla="*/ 30 w 30"/>
                <a:gd name="T3" fmla="*/ 91 h 91"/>
                <a:gd name="T4" fmla="*/ 30 w 30"/>
                <a:gd name="T5" fmla="*/ 82 h 91"/>
                <a:gd name="T6" fmla="*/ 26 w 30"/>
                <a:gd name="T7" fmla="*/ 83 h 91"/>
                <a:gd name="T8" fmla="*/ 19 w 30"/>
                <a:gd name="T9" fmla="*/ 74 h 91"/>
                <a:gd name="T10" fmla="*/ 19 w 30"/>
                <a:gd name="T11" fmla="*/ 0 h 91"/>
                <a:gd name="T12" fmla="*/ 0 w 30"/>
                <a:gd name="T13" fmla="*/ 0 h 91"/>
                <a:gd name="T14" fmla="*/ 0 w 30"/>
                <a:gd name="T15" fmla="*/ 8 h 91"/>
                <a:gd name="T16" fmla="*/ 9 w 30"/>
                <a:gd name="T17" fmla="*/ 8 h 91"/>
                <a:gd name="T18" fmla="*/ 9 w 30"/>
                <a:gd name="T19" fmla="*/ 74 h 91"/>
                <a:gd name="T20" fmla="*/ 24 w 30"/>
                <a:gd name="T21" fmla="*/ 9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0" h="91">
                  <a:moveTo>
                    <a:pt x="24" y="91"/>
                  </a:moveTo>
                  <a:cubicBezTo>
                    <a:pt x="26" y="91"/>
                    <a:pt x="29" y="91"/>
                    <a:pt x="30" y="91"/>
                  </a:cubicBezTo>
                  <a:cubicBezTo>
                    <a:pt x="30" y="82"/>
                    <a:pt x="30" y="82"/>
                    <a:pt x="30" y="82"/>
                  </a:cubicBezTo>
                  <a:cubicBezTo>
                    <a:pt x="28" y="83"/>
                    <a:pt x="27" y="83"/>
                    <a:pt x="26" y="83"/>
                  </a:cubicBezTo>
                  <a:cubicBezTo>
                    <a:pt x="21" y="83"/>
                    <a:pt x="19" y="80"/>
                    <a:pt x="19" y="74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74"/>
                    <a:pt x="9" y="74"/>
                    <a:pt x="9" y="74"/>
                  </a:cubicBezTo>
                  <a:cubicBezTo>
                    <a:pt x="9" y="85"/>
                    <a:pt x="13" y="91"/>
                    <a:pt x="24" y="91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9" name="Freeform 11">
              <a:extLst>
                <a:ext uri="{FF2B5EF4-FFF2-40B4-BE49-F238E27FC236}">
                  <a16:creationId xmlns:a16="http://schemas.microsoft.com/office/drawing/2014/main" xmlns="" id="{331AB147-689A-43A6-B970-E8CB2BE02D7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3625" y="2781300"/>
              <a:ext cx="911225" cy="1092200"/>
            </a:xfrm>
            <a:custGeom>
              <a:avLst/>
              <a:gdLst>
                <a:gd name="T0" fmla="*/ 28 w 81"/>
                <a:gd name="T1" fmla="*/ 65 h 96"/>
                <a:gd name="T2" fmla="*/ 41 w 81"/>
                <a:gd name="T3" fmla="*/ 74 h 96"/>
                <a:gd name="T4" fmla="*/ 52 w 81"/>
                <a:gd name="T5" fmla="*/ 68 h 96"/>
                <a:gd name="T6" fmla="*/ 36 w 81"/>
                <a:gd name="T7" fmla="*/ 59 h 96"/>
                <a:gd name="T8" fmla="*/ 12 w 81"/>
                <a:gd name="T9" fmla="*/ 50 h 96"/>
                <a:gd name="T10" fmla="*/ 1 w 81"/>
                <a:gd name="T11" fmla="*/ 29 h 96"/>
                <a:gd name="T12" fmla="*/ 39 w 81"/>
                <a:gd name="T13" fmla="*/ 0 h 96"/>
                <a:gd name="T14" fmla="*/ 78 w 81"/>
                <a:gd name="T15" fmla="*/ 29 h 96"/>
                <a:gd name="T16" fmla="*/ 51 w 81"/>
                <a:gd name="T17" fmla="*/ 29 h 96"/>
                <a:gd name="T18" fmla="*/ 39 w 81"/>
                <a:gd name="T19" fmla="*/ 21 h 96"/>
                <a:gd name="T20" fmla="*/ 30 w 81"/>
                <a:gd name="T21" fmla="*/ 27 h 96"/>
                <a:gd name="T22" fmla="*/ 43 w 81"/>
                <a:gd name="T23" fmla="*/ 35 h 96"/>
                <a:gd name="T24" fmla="*/ 69 w 81"/>
                <a:gd name="T25" fmla="*/ 43 h 96"/>
                <a:gd name="T26" fmla="*/ 81 w 81"/>
                <a:gd name="T27" fmla="*/ 65 h 96"/>
                <a:gd name="T28" fmla="*/ 40 w 81"/>
                <a:gd name="T29" fmla="*/ 96 h 96"/>
                <a:gd name="T30" fmla="*/ 0 w 81"/>
                <a:gd name="T31" fmla="*/ 65 h 96"/>
                <a:gd name="T32" fmla="*/ 28 w 81"/>
                <a:gd name="T33" fmla="*/ 65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1" h="96">
                  <a:moveTo>
                    <a:pt x="28" y="65"/>
                  </a:moveTo>
                  <a:cubicBezTo>
                    <a:pt x="29" y="72"/>
                    <a:pt x="33" y="74"/>
                    <a:pt x="41" y="74"/>
                  </a:cubicBezTo>
                  <a:cubicBezTo>
                    <a:pt x="48" y="74"/>
                    <a:pt x="52" y="72"/>
                    <a:pt x="52" y="68"/>
                  </a:cubicBezTo>
                  <a:cubicBezTo>
                    <a:pt x="52" y="62"/>
                    <a:pt x="47" y="62"/>
                    <a:pt x="36" y="59"/>
                  </a:cubicBezTo>
                  <a:cubicBezTo>
                    <a:pt x="24" y="55"/>
                    <a:pt x="15" y="53"/>
                    <a:pt x="12" y="50"/>
                  </a:cubicBezTo>
                  <a:cubicBezTo>
                    <a:pt x="5" y="45"/>
                    <a:pt x="1" y="38"/>
                    <a:pt x="1" y="29"/>
                  </a:cubicBezTo>
                  <a:cubicBezTo>
                    <a:pt x="1" y="11"/>
                    <a:pt x="15" y="0"/>
                    <a:pt x="39" y="0"/>
                  </a:cubicBezTo>
                  <a:cubicBezTo>
                    <a:pt x="63" y="0"/>
                    <a:pt x="77" y="10"/>
                    <a:pt x="78" y="29"/>
                  </a:cubicBezTo>
                  <a:cubicBezTo>
                    <a:pt x="51" y="29"/>
                    <a:pt x="51" y="29"/>
                    <a:pt x="51" y="29"/>
                  </a:cubicBezTo>
                  <a:cubicBezTo>
                    <a:pt x="50" y="23"/>
                    <a:pt x="46" y="21"/>
                    <a:pt x="39" y="21"/>
                  </a:cubicBezTo>
                  <a:cubicBezTo>
                    <a:pt x="33" y="21"/>
                    <a:pt x="30" y="23"/>
                    <a:pt x="30" y="27"/>
                  </a:cubicBezTo>
                  <a:cubicBezTo>
                    <a:pt x="30" y="32"/>
                    <a:pt x="34" y="33"/>
                    <a:pt x="43" y="35"/>
                  </a:cubicBezTo>
                  <a:cubicBezTo>
                    <a:pt x="54" y="38"/>
                    <a:pt x="63" y="40"/>
                    <a:pt x="69" y="43"/>
                  </a:cubicBezTo>
                  <a:cubicBezTo>
                    <a:pt x="77" y="49"/>
                    <a:pt x="81" y="55"/>
                    <a:pt x="81" y="65"/>
                  </a:cubicBezTo>
                  <a:cubicBezTo>
                    <a:pt x="81" y="84"/>
                    <a:pt x="66" y="96"/>
                    <a:pt x="40" y="96"/>
                  </a:cubicBezTo>
                  <a:cubicBezTo>
                    <a:pt x="16" y="96"/>
                    <a:pt x="1" y="84"/>
                    <a:pt x="0" y="65"/>
                  </a:cubicBezTo>
                  <a:lnTo>
                    <a:pt x="28" y="65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0" name="Freeform 12">
              <a:extLst>
                <a:ext uri="{FF2B5EF4-FFF2-40B4-BE49-F238E27FC236}">
                  <a16:creationId xmlns:a16="http://schemas.microsoft.com/office/drawing/2014/main" xmlns="" id="{AA8CC35E-627A-410D-9CC1-5DFD27072BFF}"/>
                </a:ext>
              </a:extLst>
            </p:cNvPr>
            <p:cNvSpPr>
              <a:spLocks/>
            </p:cNvSpPr>
            <p:nvPr/>
          </p:nvSpPr>
          <p:spPr bwMode="auto">
            <a:xfrm>
              <a:off x="1698625" y="2781300"/>
              <a:ext cx="1014413" cy="1092200"/>
            </a:xfrm>
            <a:custGeom>
              <a:avLst/>
              <a:gdLst>
                <a:gd name="T0" fmla="*/ 90 w 90"/>
                <a:gd name="T1" fmla="*/ 58 h 96"/>
                <a:gd name="T2" fmla="*/ 46 w 90"/>
                <a:gd name="T3" fmla="*/ 96 h 96"/>
                <a:gd name="T4" fmla="*/ 0 w 90"/>
                <a:gd name="T5" fmla="*/ 48 h 96"/>
                <a:gd name="T6" fmla="*/ 46 w 90"/>
                <a:gd name="T7" fmla="*/ 0 h 96"/>
                <a:gd name="T8" fmla="*/ 89 w 90"/>
                <a:gd name="T9" fmla="*/ 37 h 96"/>
                <a:gd name="T10" fmla="*/ 62 w 90"/>
                <a:gd name="T11" fmla="*/ 37 h 96"/>
                <a:gd name="T12" fmla="*/ 46 w 90"/>
                <a:gd name="T13" fmla="*/ 23 h 96"/>
                <a:gd name="T14" fmla="*/ 29 w 90"/>
                <a:gd name="T15" fmla="*/ 48 h 96"/>
                <a:gd name="T16" fmla="*/ 47 w 90"/>
                <a:gd name="T17" fmla="*/ 73 h 96"/>
                <a:gd name="T18" fmla="*/ 62 w 90"/>
                <a:gd name="T19" fmla="*/ 58 h 96"/>
                <a:gd name="T20" fmla="*/ 90 w 90"/>
                <a:gd name="T21" fmla="*/ 58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0" h="96">
                  <a:moveTo>
                    <a:pt x="90" y="58"/>
                  </a:moveTo>
                  <a:cubicBezTo>
                    <a:pt x="88" y="82"/>
                    <a:pt x="72" y="96"/>
                    <a:pt x="46" y="96"/>
                  </a:cubicBezTo>
                  <a:cubicBezTo>
                    <a:pt x="17" y="96"/>
                    <a:pt x="0" y="78"/>
                    <a:pt x="0" y="48"/>
                  </a:cubicBezTo>
                  <a:cubicBezTo>
                    <a:pt x="0" y="18"/>
                    <a:pt x="17" y="0"/>
                    <a:pt x="46" y="0"/>
                  </a:cubicBezTo>
                  <a:cubicBezTo>
                    <a:pt x="72" y="0"/>
                    <a:pt x="88" y="13"/>
                    <a:pt x="89" y="37"/>
                  </a:cubicBezTo>
                  <a:cubicBezTo>
                    <a:pt x="62" y="37"/>
                    <a:pt x="62" y="37"/>
                    <a:pt x="62" y="37"/>
                  </a:cubicBezTo>
                  <a:cubicBezTo>
                    <a:pt x="61" y="28"/>
                    <a:pt x="55" y="23"/>
                    <a:pt x="46" y="23"/>
                  </a:cubicBezTo>
                  <a:cubicBezTo>
                    <a:pt x="35" y="23"/>
                    <a:pt x="29" y="31"/>
                    <a:pt x="29" y="48"/>
                  </a:cubicBezTo>
                  <a:cubicBezTo>
                    <a:pt x="29" y="65"/>
                    <a:pt x="35" y="73"/>
                    <a:pt x="47" y="73"/>
                  </a:cubicBezTo>
                  <a:cubicBezTo>
                    <a:pt x="56" y="73"/>
                    <a:pt x="61" y="68"/>
                    <a:pt x="62" y="58"/>
                  </a:cubicBezTo>
                  <a:lnTo>
                    <a:pt x="90" y="58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1" name="Freeform 13">
              <a:extLst>
                <a:ext uri="{FF2B5EF4-FFF2-40B4-BE49-F238E27FC236}">
                  <a16:creationId xmlns:a16="http://schemas.microsoft.com/office/drawing/2014/main" xmlns="" id="{A6104163-5896-46B6-AC7E-D2E4D25EC2F7}"/>
                </a:ext>
              </a:extLst>
            </p:cNvPr>
            <p:cNvSpPr>
              <a:spLocks/>
            </p:cNvSpPr>
            <p:nvPr/>
          </p:nvSpPr>
          <p:spPr bwMode="auto">
            <a:xfrm>
              <a:off x="2644775" y="2816225"/>
              <a:ext cx="1014413" cy="1023938"/>
            </a:xfrm>
            <a:custGeom>
              <a:avLst/>
              <a:gdLst>
                <a:gd name="T0" fmla="*/ 0 w 639"/>
                <a:gd name="T1" fmla="*/ 0 h 645"/>
                <a:gd name="T2" fmla="*/ 206 w 639"/>
                <a:gd name="T3" fmla="*/ 0 h 645"/>
                <a:gd name="T4" fmla="*/ 320 w 639"/>
                <a:gd name="T5" fmla="*/ 415 h 645"/>
                <a:gd name="T6" fmla="*/ 433 w 639"/>
                <a:gd name="T7" fmla="*/ 0 h 645"/>
                <a:gd name="T8" fmla="*/ 639 w 639"/>
                <a:gd name="T9" fmla="*/ 0 h 645"/>
                <a:gd name="T10" fmla="*/ 419 w 639"/>
                <a:gd name="T11" fmla="*/ 645 h 645"/>
                <a:gd name="T12" fmla="*/ 213 w 639"/>
                <a:gd name="T13" fmla="*/ 645 h 645"/>
                <a:gd name="T14" fmla="*/ 0 w 639"/>
                <a:gd name="T15" fmla="*/ 0 h 6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39" h="645">
                  <a:moveTo>
                    <a:pt x="0" y="0"/>
                  </a:moveTo>
                  <a:lnTo>
                    <a:pt x="206" y="0"/>
                  </a:lnTo>
                  <a:lnTo>
                    <a:pt x="320" y="415"/>
                  </a:lnTo>
                  <a:lnTo>
                    <a:pt x="433" y="0"/>
                  </a:lnTo>
                  <a:lnTo>
                    <a:pt x="639" y="0"/>
                  </a:lnTo>
                  <a:lnTo>
                    <a:pt x="419" y="645"/>
                  </a:lnTo>
                  <a:lnTo>
                    <a:pt x="213" y="64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2" name="Freeform 14">
              <a:extLst>
                <a:ext uri="{FF2B5EF4-FFF2-40B4-BE49-F238E27FC236}">
                  <a16:creationId xmlns:a16="http://schemas.microsoft.com/office/drawing/2014/main" xmlns="" id="{481FE757-1FA8-48AB-BF72-DF393E4A3A65}"/>
                </a:ext>
              </a:extLst>
            </p:cNvPr>
            <p:cNvSpPr>
              <a:spLocks/>
            </p:cNvSpPr>
            <p:nvPr/>
          </p:nvSpPr>
          <p:spPr bwMode="auto">
            <a:xfrm>
              <a:off x="279400" y="2781300"/>
              <a:ext cx="1295400" cy="1092200"/>
            </a:xfrm>
            <a:custGeom>
              <a:avLst/>
              <a:gdLst>
                <a:gd name="T0" fmla="*/ 4 w 115"/>
                <a:gd name="T1" fmla="*/ 42 h 96"/>
                <a:gd name="T2" fmla="*/ 0 w 115"/>
                <a:gd name="T3" fmla="*/ 33 h 96"/>
                <a:gd name="T4" fmla="*/ 4 w 115"/>
                <a:gd name="T5" fmla="*/ 23 h 96"/>
                <a:gd name="T6" fmla="*/ 22 w 115"/>
                <a:gd name="T7" fmla="*/ 4 h 96"/>
                <a:gd name="T8" fmla="*/ 32 w 115"/>
                <a:gd name="T9" fmla="*/ 0 h 96"/>
                <a:gd name="T10" fmla="*/ 42 w 115"/>
                <a:gd name="T11" fmla="*/ 4 h 96"/>
                <a:gd name="T12" fmla="*/ 58 w 115"/>
                <a:gd name="T13" fmla="*/ 20 h 96"/>
                <a:gd name="T14" fmla="*/ 73 w 115"/>
                <a:gd name="T15" fmla="*/ 4 h 96"/>
                <a:gd name="T16" fmla="*/ 83 w 115"/>
                <a:gd name="T17" fmla="*/ 0 h 96"/>
                <a:gd name="T18" fmla="*/ 93 w 115"/>
                <a:gd name="T19" fmla="*/ 4 h 96"/>
                <a:gd name="T20" fmla="*/ 111 w 115"/>
                <a:gd name="T21" fmla="*/ 23 h 96"/>
                <a:gd name="T22" fmla="*/ 115 w 115"/>
                <a:gd name="T23" fmla="*/ 33 h 96"/>
                <a:gd name="T24" fmla="*/ 111 w 115"/>
                <a:gd name="T25" fmla="*/ 42 h 96"/>
                <a:gd name="T26" fmla="*/ 58 w 115"/>
                <a:gd name="T27" fmla="*/ 96 h 96"/>
                <a:gd name="T28" fmla="*/ 57 w 115"/>
                <a:gd name="T29" fmla="*/ 96 h 96"/>
                <a:gd name="T30" fmla="*/ 4 w 115"/>
                <a:gd name="T31" fmla="*/ 4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5" h="96">
                  <a:moveTo>
                    <a:pt x="4" y="42"/>
                  </a:moveTo>
                  <a:cubicBezTo>
                    <a:pt x="1" y="40"/>
                    <a:pt x="0" y="36"/>
                    <a:pt x="0" y="33"/>
                  </a:cubicBezTo>
                  <a:cubicBezTo>
                    <a:pt x="0" y="29"/>
                    <a:pt x="1" y="25"/>
                    <a:pt x="4" y="23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25" y="1"/>
                    <a:pt x="29" y="0"/>
                    <a:pt x="32" y="0"/>
                  </a:cubicBezTo>
                  <a:cubicBezTo>
                    <a:pt x="36" y="0"/>
                    <a:pt x="39" y="1"/>
                    <a:pt x="42" y="4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73" y="4"/>
                    <a:pt x="73" y="4"/>
                    <a:pt x="73" y="4"/>
                  </a:cubicBezTo>
                  <a:cubicBezTo>
                    <a:pt x="76" y="1"/>
                    <a:pt x="79" y="0"/>
                    <a:pt x="83" y="0"/>
                  </a:cubicBezTo>
                  <a:cubicBezTo>
                    <a:pt x="87" y="0"/>
                    <a:pt x="90" y="1"/>
                    <a:pt x="93" y="4"/>
                  </a:cubicBezTo>
                  <a:cubicBezTo>
                    <a:pt x="111" y="23"/>
                    <a:pt x="111" y="23"/>
                    <a:pt x="111" y="23"/>
                  </a:cubicBezTo>
                  <a:cubicBezTo>
                    <a:pt x="114" y="25"/>
                    <a:pt x="115" y="29"/>
                    <a:pt x="115" y="33"/>
                  </a:cubicBezTo>
                  <a:cubicBezTo>
                    <a:pt x="115" y="36"/>
                    <a:pt x="114" y="40"/>
                    <a:pt x="111" y="42"/>
                  </a:cubicBezTo>
                  <a:cubicBezTo>
                    <a:pt x="58" y="96"/>
                    <a:pt x="58" y="96"/>
                    <a:pt x="58" y="96"/>
                  </a:cubicBezTo>
                  <a:cubicBezTo>
                    <a:pt x="57" y="96"/>
                    <a:pt x="57" y="96"/>
                    <a:pt x="57" y="96"/>
                  </a:cubicBezTo>
                  <a:lnTo>
                    <a:pt x="4" y="42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nal Slide - Photo Right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7029651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38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Picture Placeholder 5"/>
          <p:cNvSpPr>
            <a:spLocks noGrp="1"/>
          </p:cNvSpPr>
          <p:nvPr>
            <p:ph type="pic" sz="quarter" idx="13" hasCustomPrompt="1"/>
          </p:nvPr>
        </p:nvSpPr>
        <p:spPr>
          <a:xfrm>
            <a:off x="8351520" y="1554481"/>
            <a:ext cx="3840480" cy="5303519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algn="ctr">
              <a:defRPr sz="320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55" name="Rectangle 54"/>
          <p:cNvSpPr/>
          <p:nvPr/>
        </p:nvSpPr>
        <p:spPr>
          <a:xfrm>
            <a:off x="0" y="1"/>
            <a:ext cx="12191996" cy="1554480"/>
          </a:xfrm>
          <a:prstGeom prst="rect">
            <a:avLst/>
          </a:prstGeom>
          <a:solidFill>
            <a:srgbClr val="064E69"/>
          </a:solidFill>
        </p:spPr>
        <p:txBody>
          <a:bodyPr wrap="square" lIns="548640" tIns="0" rIns="91440" bIns="0" anchor="ctr">
            <a:noAutofit/>
          </a:bodyPr>
          <a:lstStyle/>
          <a:p>
            <a:endParaRPr lang="en-US" sz="4000" b="1" dirty="0">
              <a:solidFill>
                <a:schemeClr val="bg1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6" name="Rectangle 55"/>
          <p:cNvSpPr/>
          <p:nvPr/>
        </p:nvSpPr>
        <p:spPr>
          <a:xfrm>
            <a:off x="-1" y="1448246"/>
            <a:ext cx="12192127" cy="106731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7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96379"/>
            <a:ext cx="9688623" cy="476805"/>
          </a:xfrm>
          <a:prstGeom prst="rect">
            <a:avLst/>
          </a:prstGeom>
        </p:spPr>
        <p:txBody>
          <a:bodyPr tIns="0" bIns="0" anchor="t" anchorCtr="0"/>
          <a:lstStyle>
            <a:lvl1pPr algn="l">
              <a:defRPr sz="3000" b="1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58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860151"/>
            <a:ext cx="9688622" cy="423094"/>
          </a:xfrm>
          <a:prstGeom prst="rect">
            <a:avLst/>
          </a:prstGeom>
        </p:spPr>
        <p:txBody>
          <a:bodyPr anchor="ctr"/>
          <a:lstStyle>
            <a:lvl1pPr algn="l">
              <a:lnSpc>
                <a:spcPct val="90000"/>
              </a:lnSpc>
              <a:spcBef>
                <a:spcPts val="0"/>
              </a:spcBef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cxnSp>
        <p:nvCxnSpPr>
          <p:cNvPr id="59" name="Straight Connector 58"/>
          <p:cNvCxnSpPr/>
          <p:nvPr/>
        </p:nvCxnSpPr>
        <p:spPr>
          <a:xfrm>
            <a:off x="10363874" y="222724"/>
            <a:ext cx="0" cy="1032988"/>
          </a:xfrm>
          <a:prstGeom prst="line">
            <a:avLst/>
          </a:prstGeom>
          <a:ln w="15875" cmpd="sng">
            <a:solidFill>
              <a:schemeClr val="accent2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TextBox 62"/>
          <p:cNvSpPr txBox="1">
            <a:spLocks/>
          </p:cNvSpPr>
          <p:nvPr/>
        </p:nvSpPr>
        <p:spPr>
          <a:xfrm>
            <a:off x="11008872" y="633221"/>
            <a:ext cx="224212" cy="176024"/>
          </a:xfrm>
          <a:custGeom>
            <a:avLst/>
            <a:gdLst/>
            <a:ahLst/>
            <a:cxnLst/>
            <a:rect l="l" t="t" r="r" b="b"/>
            <a:pathLst>
              <a:path w="486642" h="382152">
                <a:moveTo>
                  <a:pt x="150943" y="0"/>
                </a:moveTo>
                <a:cubicBezTo>
                  <a:pt x="191582" y="0"/>
                  <a:pt x="224490" y="12368"/>
                  <a:pt x="232082" y="39810"/>
                </a:cubicBezTo>
                <a:lnTo>
                  <a:pt x="232262" y="41192"/>
                </a:lnTo>
                <a:lnTo>
                  <a:pt x="244394" y="27828"/>
                </a:lnTo>
                <a:cubicBezTo>
                  <a:pt x="265912" y="9086"/>
                  <a:pt x="296328" y="0"/>
                  <a:pt x="331918" y="0"/>
                </a:cubicBezTo>
                <a:cubicBezTo>
                  <a:pt x="355140" y="0"/>
                  <a:pt x="375838" y="4038"/>
                  <a:pt x="390730" y="12620"/>
                </a:cubicBezTo>
                <a:lnTo>
                  <a:pt x="399550" y="19037"/>
                </a:lnTo>
                <a:lnTo>
                  <a:pt x="415123" y="9213"/>
                </a:lnTo>
                <a:cubicBezTo>
                  <a:pt x="421204" y="6846"/>
                  <a:pt x="427956" y="5553"/>
                  <a:pt x="435150" y="5553"/>
                </a:cubicBezTo>
                <a:cubicBezTo>
                  <a:pt x="464430" y="5553"/>
                  <a:pt x="486642" y="26250"/>
                  <a:pt x="486642" y="53511"/>
                </a:cubicBezTo>
                <a:cubicBezTo>
                  <a:pt x="486642" y="80772"/>
                  <a:pt x="464430" y="101974"/>
                  <a:pt x="435150" y="101974"/>
                </a:cubicBezTo>
                <a:cubicBezTo>
                  <a:pt x="420763" y="101974"/>
                  <a:pt x="408142" y="96674"/>
                  <a:pt x="399118" y="87965"/>
                </a:cubicBezTo>
                <a:lnTo>
                  <a:pt x="397141" y="85099"/>
                </a:lnTo>
                <a:lnTo>
                  <a:pt x="387023" y="90979"/>
                </a:lnTo>
                <a:cubicBezTo>
                  <a:pt x="381675" y="92887"/>
                  <a:pt x="375838" y="93897"/>
                  <a:pt x="369780" y="93897"/>
                </a:cubicBezTo>
                <a:cubicBezTo>
                  <a:pt x="355140" y="93897"/>
                  <a:pt x="342015" y="89354"/>
                  <a:pt x="335452" y="81781"/>
                </a:cubicBezTo>
                <a:cubicBezTo>
                  <a:pt x="350092" y="78247"/>
                  <a:pt x="359179" y="66132"/>
                  <a:pt x="359179" y="42910"/>
                </a:cubicBezTo>
                <a:cubicBezTo>
                  <a:pt x="359179" y="22717"/>
                  <a:pt x="350597" y="8077"/>
                  <a:pt x="331918" y="8077"/>
                </a:cubicBezTo>
                <a:cubicBezTo>
                  <a:pt x="308696" y="8077"/>
                  <a:pt x="300619" y="29784"/>
                  <a:pt x="300619" y="58054"/>
                </a:cubicBezTo>
                <a:lnTo>
                  <a:pt x="300619" y="132264"/>
                </a:lnTo>
                <a:lnTo>
                  <a:pt x="363217" y="132264"/>
                </a:lnTo>
                <a:lnTo>
                  <a:pt x="360693" y="144884"/>
                </a:lnTo>
                <a:lnTo>
                  <a:pt x="300619" y="144884"/>
                </a:lnTo>
                <a:lnTo>
                  <a:pt x="300619" y="327126"/>
                </a:lnTo>
                <a:cubicBezTo>
                  <a:pt x="300619" y="360445"/>
                  <a:pt x="312230" y="369027"/>
                  <a:pt x="339490" y="381142"/>
                </a:cubicBezTo>
                <a:lnTo>
                  <a:pt x="339490" y="382152"/>
                </a:lnTo>
                <a:lnTo>
                  <a:pt x="186529" y="382152"/>
                </a:lnTo>
                <a:lnTo>
                  <a:pt x="186529" y="381142"/>
                </a:lnTo>
                <a:cubicBezTo>
                  <a:pt x="208741" y="367007"/>
                  <a:pt x="210255" y="360445"/>
                  <a:pt x="210255" y="327126"/>
                </a:cubicBezTo>
                <a:lnTo>
                  <a:pt x="210255" y="144884"/>
                </a:lnTo>
                <a:lnTo>
                  <a:pt x="180976" y="144884"/>
                </a:lnTo>
                <a:lnTo>
                  <a:pt x="180976" y="139331"/>
                </a:lnTo>
                <a:lnTo>
                  <a:pt x="210255" y="128225"/>
                </a:lnTo>
                <a:lnTo>
                  <a:pt x="210255" y="113585"/>
                </a:lnTo>
                <a:lnTo>
                  <a:pt x="212504" y="87227"/>
                </a:lnTo>
                <a:lnTo>
                  <a:pt x="206048" y="90979"/>
                </a:lnTo>
                <a:cubicBezTo>
                  <a:pt x="200700" y="92887"/>
                  <a:pt x="194863" y="93897"/>
                  <a:pt x="188805" y="93897"/>
                </a:cubicBezTo>
                <a:cubicBezTo>
                  <a:pt x="174165" y="93897"/>
                  <a:pt x="161040" y="89354"/>
                  <a:pt x="154477" y="81781"/>
                </a:cubicBezTo>
                <a:cubicBezTo>
                  <a:pt x="169117" y="78247"/>
                  <a:pt x="178204" y="66132"/>
                  <a:pt x="178204" y="42910"/>
                </a:cubicBezTo>
                <a:cubicBezTo>
                  <a:pt x="178204" y="22717"/>
                  <a:pt x="169622" y="8077"/>
                  <a:pt x="150943" y="8077"/>
                </a:cubicBezTo>
                <a:cubicBezTo>
                  <a:pt x="127721" y="8077"/>
                  <a:pt x="119644" y="29784"/>
                  <a:pt x="119644" y="58054"/>
                </a:cubicBezTo>
                <a:lnTo>
                  <a:pt x="119644" y="132264"/>
                </a:lnTo>
                <a:lnTo>
                  <a:pt x="182242" y="132264"/>
                </a:lnTo>
                <a:lnTo>
                  <a:pt x="179718" y="144884"/>
                </a:lnTo>
                <a:lnTo>
                  <a:pt x="119644" y="144884"/>
                </a:lnTo>
                <a:lnTo>
                  <a:pt x="119644" y="327126"/>
                </a:lnTo>
                <a:cubicBezTo>
                  <a:pt x="119644" y="360445"/>
                  <a:pt x="131255" y="369027"/>
                  <a:pt x="158516" y="381142"/>
                </a:cubicBezTo>
                <a:lnTo>
                  <a:pt x="158516" y="382152"/>
                </a:lnTo>
                <a:lnTo>
                  <a:pt x="5554" y="382152"/>
                </a:lnTo>
                <a:lnTo>
                  <a:pt x="5554" y="381142"/>
                </a:lnTo>
                <a:cubicBezTo>
                  <a:pt x="27766" y="367007"/>
                  <a:pt x="29280" y="360445"/>
                  <a:pt x="29280" y="327126"/>
                </a:cubicBezTo>
                <a:lnTo>
                  <a:pt x="29280" y="144884"/>
                </a:lnTo>
                <a:lnTo>
                  <a:pt x="0" y="144884"/>
                </a:lnTo>
                <a:lnTo>
                  <a:pt x="0" y="139331"/>
                </a:lnTo>
                <a:lnTo>
                  <a:pt x="29280" y="128225"/>
                </a:lnTo>
                <a:lnTo>
                  <a:pt x="29280" y="113585"/>
                </a:lnTo>
                <a:cubicBezTo>
                  <a:pt x="29280" y="36347"/>
                  <a:pt x="79763" y="0"/>
                  <a:pt x="150943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4" name="TextBox 63"/>
          <p:cNvSpPr txBox="1">
            <a:spLocks/>
          </p:cNvSpPr>
          <p:nvPr/>
        </p:nvSpPr>
        <p:spPr>
          <a:xfrm>
            <a:off x="10828278" y="644150"/>
            <a:ext cx="167232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5" name="TextBox 64"/>
          <p:cNvSpPr txBox="1">
            <a:spLocks/>
          </p:cNvSpPr>
          <p:nvPr/>
        </p:nvSpPr>
        <p:spPr>
          <a:xfrm>
            <a:off x="11252333" y="691818"/>
            <a:ext cx="113038" cy="119752"/>
          </a:xfrm>
          <a:custGeom>
            <a:avLst/>
            <a:gdLst/>
            <a:ahLst/>
            <a:cxnLst/>
            <a:rect l="l" t="t" r="r" b="b"/>
            <a:pathLst>
              <a:path w="245345" h="259984">
                <a:moveTo>
                  <a:pt x="144885" y="0"/>
                </a:moveTo>
                <a:cubicBezTo>
                  <a:pt x="199406" y="0"/>
                  <a:pt x="240297" y="23726"/>
                  <a:pt x="240297" y="65122"/>
                </a:cubicBezTo>
                <a:cubicBezTo>
                  <a:pt x="240297" y="95411"/>
                  <a:pt x="217075" y="111061"/>
                  <a:pt x="192843" y="111061"/>
                </a:cubicBezTo>
                <a:cubicBezTo>
                  <a:pt x="166087" y="111061"/>
                  <a:pt x="150438" y="96421"/>
                  <a:pt x="148923" y="81781"/>
                </a:cubicBezTo>
                <a:cubicBezTo>
                  <a:pt x="151952" y="82791"/>
                  <a:pt x="155486" y="83296"/>
                  <a:pt x="158010" y="83296"/>
                </a:cubicBezTo>
                <a:cubicBezTo>
                  <a:pt x="176689" y="83296"/>
                  <a:pt x="184261" y="67646"/>
                  <a:pt x="184261" y="48463"/>
                </a:cubicBezTo>
                <a:cubicBezTo>
                  <a:pt x="184261" y="24231"/>
                  <a:pt x="171136" y="8582"/>
                  <a:pt x="145894" y="8582"/>
                </a:cubicBezTo>
                <a:cubicBezTo>
                  <a:pt x="110557" y="8582"/>
                  <a:pt x="93897" y="54016"/>
                  <a:pt x="93897" y="112575"/>
                </a:cubicBezTo>
                <a:cubicBezTo>
                  <a:pt x="93897" y="181737"/>
                  <a:pt x="124692" y="218589"/>
                  <a:pt x="171640" y="218589"/>
                </a:cubicBezTo>
                <a:cubicBezTo>
                  <a:pt x="200415" y="218589"/>
                  <a:pt x="226666" y="204958"/>
                  <a:pt x="242316" y="173659"/>
                </a:cubicBezTo>
                <a:lnTo>
                  <a:pt x="245345" y="175174"/>
                </a:lnTo>
                <a:cubicBezTo>
                  <a:pt x="231210" y="229190"/>
                  <a:pt x="185775" y="259984"/>
                  <a:pt x="129740" y="259984"/>
                </a:cubicBezTo>
                <a:cubicBezTo>
                  <a:pt x="60074" y="259984"/>
                  <a:pt x="0" y="213036"/>
                  <a:pt x="0" y="134788"/>
                </a:cubicBezTo>
                <a:cubicBezTo>
                  <a:pt x="0" y="49977"/>
                  <a:pt x="63608" y="0"/>
                  <a:pt x="144885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6" name="TextBox 65"/>
          <p:cNvSpPr txBox="1">
            <a:spLocks/>
          </p:cNvSpPr>
          <p:nvPr/>
        </p:nvSpPr>
        <p:spPr>
          <a:xfrm>
            <a:off x="11375209" y="691818"/>
            <a:ext cx="116062" cy="119752"/>
          </a:xfrm>
          <a:custGeom>
            <a:avLst/>
            <a:gdLst/>
            <a:ahLst/>
            <a:cxnLst/>
            <a:rect l="l" t="t" r="r" b="b"/>
            <a:pathLst>
              <a:path w="251908" h="259984">
                <a:moveTo>
                  <a:pt x="132264" y="0"/>
                </a:moveTo>
                <a:cubicBezTo>
                  <a:pt x="213541" y="0"/>
                  <a:pt x="251908" y="51996"/>
                  <a:pt x="251908" y="118633"/>
                </a:cubicBezTo>
                <a:lnTo>
                  <a:pt x="91373" y="118633"/>
                </a:lnTo>
                <a:cubicBezTo>
                  <a:pt x="91373" y="181232"/>
                  <a:pt x="124187" y="218589"/>
                  <a:pt x="172650" y="218589"/>
                </a:cubicBezTo>
                <a:cubicBezTo>
                  <a:pt x="203444" y="218589"/>
                  <a:pt x="230200" y="204958"/>
                  <a:pt x="245850" y="173659"/>
                </a:cubicBezTo>
                <a:lnTo>
                  <a:pt x="249383" y="175174"/>
                </a:lnTo>
                <a:cubicBezTo>
                  <a:pt x="234744" y="229190"/>
                  <a:pt x="189309" y="259984"/>
                  <a:pt x="131759" y="259984"/>
                </a:cubicBezTo>
                <a:cubicBezTo>
                  <a:pt x="59569" y="259984"/>
                  <a:pt x="0" y="212531"/>
                  <a:pt x="0" y="130244"/>
                </a:cubicBezTo>
                <a:cubicBezTo>
                  <a:pt x="0" y="50987"/>
                  <a:pt x="60074" y="0"/>
                  <a:pt x="132264" y="0"/>
                </a:cubicBezTo>
                <a:close/>
                <a:moveTo>
                  <a:pt x="132264" y="8582"/>
                </a:moveTo>
                <a:cubicBezTo>
                  <a:pt x="106013" y="8582"/>
                  <a:pt x="92888" y="48463"/>
                  <a:pt x="91878" y="108032"/>
                </a:cubicBezTo>
                <a:lnTo>
                  <a:pt x="165078" y="108032"/>
                </a:lnTo>
                <a:cubicBezTo>
                  <a:pt x="165078" y="51492"/>
                  <a:pt x="161039" y="8582"/>
                  <a:pt x="132264" y="85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7" name="TextBox 66"/>
          <p:cNvSpPr txBox="1">
            <a:spLocks/>
          </p:cNvSpPr>
          <p:nvPr/>
        </p:nvSpPr>
        <p:spPr>
          <a:xfrm>
            <a:off x="11176798" y="694143"/>
            <a:ext cx="64892" cy="115102"/>
          </a:xfrm>
          <a:custGeom>
            <a:avLst/>
            <a:gdLst/>
            <a:ahLst/>
            <a:cxnLst/>
            <a:rect l="l" t="t" r="r" b="b"/>
            <a:pathLst>
              <a:path w="140846" h="249888">
                <a:moveTo>
                  <a:pt x="0" y="0"/>
                </a:moveTo>
                <a:lnTo>
                  <a:pt x="117119" y="0"/>
                </a:lnTo>
                <a:lnTo>
                  <a:pt x="117119" y="194862"/>
                </a:lnTo>
                <a:cubicBezTo>
                  <a:pt x="117119" y="228181"/>
                  <a:pt x="118633" y="234743"/>
                  <a:pt x="140846" y="248878"/>
                </a:cubicBezTo>
                <a:lnTo>
                  <a:pt x="140846" y="249888"/>
                </a:lnTo>
                <a:lnTo>
                  <a:pt x="3029" y="249888"/>
                </a:lnTo>
                <a:lnTo>
                  <a:pt x="3029" y="248878"/>
                </a:lnTo>
                <a:cubicBezTo>
                  <a:pt x="25241" y="234743"/>
                  <a:pt x="26755" y="228181"/>
                  <a:pt x="26755" y="194862"/>
                </a:cubicBezTo>
                <a:lnTo>
                  <a:pt x="26755" y="56035"/>
                </a:lnTo>
                <a:cubicBezTo>
                  <a:pt x="26755" y="21707"/>
                  <a:pt x="23726" y="14640"/>
                  <a:pt x="0" y="1009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8" name="TextBox 67"/>
          <p:cNvSpPr txBox="1">
            <a:spLocks/>
          </p:cNvSpPr>
          <p:nvPr/>
        </p:nvSpPr>
        <p:spPr>
          <a:xfrm>
            <a:off x="11298619" y="842827"/>
            <a:ext cx="149090" cy="167421"/>
          </a:xfrm>
          <a:custGeom>
            <a:avLst/>
            <a:gdLst/>
            <a:ahLst/>
            <a:cxnLst/>
            <a:rect l="l" t="t" r="r" b="b"/>
            <a:pathLst>
              <a:path w="323593" h="363474">
                <a:moveTo>
                  <a:pt x="190319" y="0"/>
                </a:moveTo>
                <a:cubicBezTo>
                  <a:pt x="236258" y="0"/>
                  <a:pt x="260994" y="15145"/>
                  <a:pt x="277653" y="15145"/>
                </a:cubicBezTo>
                <a:cubicBezTo>
                  <a:pt x="291284" y="15145"/>
                  <a:pt x="299866" y="9087"/>
                  <a:pt x="310467" y="0"/>
                </a:cubicBezTo>
                <a:lnTo>
                  <a:pt x="314001" y="120149"/>
                </a:lnTo>
                <a:lnTo>
                  <a:pt x="312991" y="120149"/>
                </a:lnTo>
                <a:cubicBezTo>
                  <a:pt x="287750" y="56541"/>
                  <a:pt x="250393" y="11107"/>
                  <a:pt x="199910" y="11107"/>
                </a:cubicBezTo>
                <a:cubicBezTo>
                  <a:pt x="137312" y="11107"/>
                  <a:pt x="101974" y="80268"/>
                  <a:pt x="101974" y="164573"/>
                </a:cubicBezTo>
                <a:cubicBezTo>
                  <a:pt x="101974" y="260490"/>
                  <a:pt x="155486" y="315011"/>
                  <a:pt x="221113" y="315011"/>
                </a:cubicBezTo>
                <a:cubicBezTo>
                  <a:pt x="263014" y="315011"/>
                  <a:pt x="297846" y="300371"/>
                  <a:pt x="320564" y="252918"/>
                </a:cubicBezTo>
                <a:lnTo>
                  <a:pt x="323593" y="253927"/>
                </a:lnTo>
                <a:cubicBezTo>
                  <a:pt x="306428" y="321574"/>
                  <a:pt x="252412" y="363474"/>
                  <a:pt x="173660" y="363474"/>
                </a:cubicBezTo>
                <a:cubicBezTo>
                  <a:pt x="74209" y="363474"/>
                  <a:pt x="0" y="293304"/>
                  <a:pt x="0" y="186786"/>
                </a:cubicBezTo>
                <a:cubicBezTo>
                  <a:pt x="0" y="76229"/>
                  <a:pt x="85820" y="0"/>
                  <a:pt x="190319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9" name="TextBox 68"/>
          <p:cNvSpPr txBox="1">
            <a:spLocks/>
          </p:cNvSpPr>
          <p:nvPr/>
        </p:nvSpPr>
        <p:spPr>
          <a:xfrm>
            <a:off x="11640919" y="842827"/>
            <a:ext cx="167232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0" name="TextBox 69"/>
          <p:cNvSpPr txBox="1">
            <a:spLocks/>
          </p:cNvSpPr>
          <p:nvPr/>
        </p:nvSpPr>
        <p:spPr>
          <a:xfrm>
            <a:off x="11457735" y="843060"/>
            <a:ext cx="172117" cy="164863"/>
          </a:xfrm>
          <a:custGeom>
            <a:avLst/>
            <a:gdLst/>
            <a:ahLst/>
            <a:cxnLst/>
            <a:rect l="l" t="t" r="r" b="b"/>
            <a:pathLst>
              <a:path w="373571" h="357921">
                <a:moveTo>
                  <a:pt x="17164" y="0"/>
                </a:moveTo>
                <a:cubicBezTo>
                  <a:pt x="24232" y="3534"/>
                  <a:pt x="35338" y="4544"/>
                  <a:pt x="52502" y="4544"/>
                </a:cubicBezTo>
                <a:lnTo>
                  <a:pt x="321069" y="4544"/>
                </a:lnTo>
                <a:cubicBezTo>
                  <a:pt x="338233" y="4544"/>
                  <a:pt x="349339" y="3534"/>
                  <a:pt x="356407" y="0"/>
                </a:cubicBezTo>
                <a:lnTo>
                  <a:pt x="373571" y="119644"/>
                </a:lnTo>
                <a:lnTo>
                  <a:pt x="372561" y="119644"/>
                </a:lnTo>
                <a:cubicBezTo>
                  <a:pt x="329651" y="50988"/>
                  <a:pt x="309963" y="17669"/>
                  <a:pt x="255946" y="17669"/>
                </a:cubicBezTo>
                <a:lnTo>
                  <a:pt x="234239" y="17669"/>
                </a:lnTo>
                <a:lnTo>
                  <a:pt x="234239" y="297847"/>
                </a:lnTo>
                <a:cubicBezTo>
                  <a:pt x="234239" y="331165"/>
                  <a:pt x="240802" y="342272"/>
                  <a:pt x="263014" y="356912"/>
                </a:cubicBezTo>
                <a:lnTo>
                  <a:pt x="263014" y="357921"/>
                </a:lnTo>
                <a:lnTo>
                  <a:pt x="110557" y="357921"/>
                </a:lnTo>
                <a:lnTo>
                  <a:pt x="110557" y="356912"/>
                </a:lnTo>
                <a:cubicBezTo>
                  <a:pt x="133274" y="342272"/>
                  <a:pt x="139332" y="331165"/>
                  <a:pt x="139332" y="297847"/>
                </a:cubicBezTo>
                <a:lnTo>
                  <a:pt x="139332" y="17669"/>
                </a:lnTo>
                <a:lnTo>
                  <a:pt x="117624" y="17669"/>
                </a:lnTo>
                <a:cubicBezTo>
                  <a:pt x="63608" y="17669"/>
                  <a:pt x="43920" y="50988"/>
                  <a:pt x="1010" y="119644"/>
                </a:cubicBezTo>
                <a:lnTo>
                  <a:pt x="0" y="119644"/>
                </a:lnTo>
                <a:lnTo>
                  <a:pt x="17164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11001879" y="849615"/>
            <a:ext cx="276881" cy="61257"/>
            <a:chOff x="10999013" y="849614"/>
            <a:chExt cx="276809" cy="61257"/>
          </a:xfrm>
          <a:solidFill>
            <a:schemeClr val="accent3"/>
          </a:solidFill>
        </p:grpSpPr>
        <p:sp>
          <p:nvSpPr>
            <p:cNvPr id="71" name="TextBox 70"/>
            <p:cNvSpPr txBox="1">
              <a:spLocks/>
            </p:cNvSpPr>
            <p:nvPr/>
          </p:nvSpPr>
          <p:spPr>
            <a:xfrm>
              <a:off x="10999013" y="849614"/>
              <a:ext cx="60220" cy="61257"/>
            </a:xfrm>
            <a:custGeom>
              <a:avLst/>
              <a:gdLst/>
              <a:ahLst/>
              <a:cxnLst/>
              <a:rect l="l" t="t" r="r" b="b"/>
              <a:pathLst>
                <a:path w="130738" h="132991">
                  <a:moveTo>
                    <a:pt x="65709" y="0"/>
                  </a:moveTo>
                  <a:cubicBezTo>
                    <a:pt x="86122" y="0"/>
                    <a:pt x="102063" y="5891"/>
                    <a:pt x="113533" y="17673"/>
                  </a:cubicBezTo>
                  <a:cubicBezTo>
                    <a:pt x="125003" y="29455"/>
                    <a:pt x="130738" y="45715"/>
                    <a:pt x="130738" y="66451"/>
                  </a:cubicBezTo>
                  <a:cubicBezTo>
                    <a:pt x="130738" y="87129"/>
                    <a:pt x="124987" y="103389"/>
                    <a:pt x="113485" y="115230"/>
                  </a:cubicBezTo>
                  <a:cubicBezTo>
                    <a:pt x="101982" y="127071"/>
                    <a:pt x="85992" y="132991"/>
                    <a:pt x="65515" y="132991"/>
                  </a:cubicBezTo>
                  <a:cubicBezTo>
                    <a:pt x="44584" y="132991"/>
                    <a:pt x="28432" y="127174"/>
                    <a:pt x="17059" y="115539"/>
                  </a:cubicBezTo>
                  <a:cubicBezTo>
                    <a:pt x="5686" y="103904"/>
                    <a:pt x="0" y="87483"/>
                    <a:pt x="0" y="66275"/>
                  </a:cubicBezTo>
                  <a:cubicBezTo>
                    <a:pt x="0" y="45243"/>
                    <a:pt x="5702" y="28940"/>
                    <a:pt x="17107" y="17364"/>
                  </a:cubicBezTo>
                  <a:cubicBezTo>
                    <a:pt x="28513" y="5788"/>
                    <a:pt x="44713" y="0"/>
                    <a:pt x="65709" y="0"/>
                  </a:cubicBezTo>
                  <a:close/>
                  <a:moveTo>
                    <a:pt x="65709" y="13431"/>
                  </a:moveTo>
                  <a:cubicBezTo>
                    <a:pt x="49962" y="13431"/>
                    <a:pt x="37990" y="17953"/>
                    <a:pt x="29793" y="26996"/>
                  </a:cubicBezTo>
                  <a:cubicBezTo>
                    <a:pt x="21595" y="36038"/>
                    <a:pt x="17496" y="49190"/>
                    <a:pt x="17496" y="66451"/>
                  </a:cubicBezTo>
                  <a:cubicBezTo>
                    <a:pt x="17496" y="83948"/>
                    <a:pt x="21595" y="97218"/>
                    <a:pt x="29793" y="106261"/>
                  </a:cubicBezTo>
                  <a:cubicBezTo>
                    <a:pt x="37990" y="115303"/>
                    <a:pt x="49897" y="119825"/>
                    <a:pt x="65515" y="119825"/>
                  </a:cubicBezTo>
                  <a:cubicBezTo>
                    <a:pt x="81262" y="119825"/>
                    <a:pt x="93153" y="115318"/>
                    <a:pt x="101188" y="106305"/>
                  </a:cubicBezTo>
                  <a:cubicBezTo>
                    <a:pt x="109224" y="97291"/>
                    <a:pt x="113242" y="84007"/>
                    <a:pt x="113242" y="66451"/>
                  </a:cubicBezTo>
                  <a:cubicBezTo>
                    <a:pt x="113242" y="49073"/>
                    <a:pt x="109240" y="35891"/>
                    <a:pt x="101237" y="26907"/>
                  </a:cubicBezTo>
                  <a:cubicBezTo>
                    <a:pt x="93234" y="17923"/>
                    <a:pt x="81391" y="13431"/>
                    <a:pt x="65709" y="13431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2" name="TextBox 71"/>
            <p:cNvSpPr txBox="1">
              <a:spLocks/>
            </p:cNvSpPr>
            <p:nvPr/>
          </p:nvSpPr>
          <p:spPr>
            <a:xfrm>
              <a:off x="11068225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60620"/>
                  </a:lnTo>
                  <a:lnTo>
                    <a:pt x="75430" y="60620"/>
                  </a:lnTo>
                  <a:lnTo>
                    <a:pt x="75430" y="73963"/>
                  </a:lnTo>
                  <a:lnTo>
                    <a:pt x="16525" y="73963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3" name="TextBox 72"/>
            <p:cNvSpPr txBox="1">
              <a:spLocks/>
            </p:cNvSpPr>
            <p:nvPr/>
          </p:nvSpPr>
          <p:spPr>
            <a:xfrm>
              <a:off x="11121455" y="850549"/>
              <a:ext cx="49071" cy="59507"/>
            </a:xfrm>
            <a:custGeom>
              <a:avLst/>
              <a:gdLst/>
              <a:ahLst/>
              <a:cxnLst/>
              <a:rect l="l" t="t" r="r" b="b"/>
              <a:pathLst>
                <a:path w="106535" h="129192">
                  <a:moveTo>
                    <a:pt x="0" y="0"/>
                  </a:moveTo>
                  <a:lnTo>
                    <a:pt x="106535" y="0"/>
                  </a:lnTo>
                  <a:lnTo>
                    <a:pt x="106535" y="13343"/>
                  </a:lnTo>
                  <a:lnTo>
                    <a:pt x="61530" y="13343"/>
                  </a:lnTo>
                  <a:lnTo>
                    <a:pt x="61530" y="129192"/>
                  </a:lnTo>
                  <a:lnTo>
                    <a:pt x="45005" y="129192"/>
                  </a:lnTo>
                  <a:lnTo>
                    <a:pt x="45005" y="13343"/>
                  </a:lnTo>
                  <a:lnTo>
                    <a:pt x="0" y="1334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4" name="TextBox 73"/>
            <p:cNvSpPr txBox="1">
              <a:spLocks/>
            </p:cNvSpPr>
            <p:nvPr/>
          </p:nvSpPr>
          <p:spPr>
            <a:xfrm>
              <a:off x="11177909" y="850549"/>
              <a:ext cx="49698" cy="59507"/>
            </a:xfrm>
            <a:custGeom>
              <a:avLst/>
              <a:gdLst/>
              <a:ahLst/>
              <a:cxnLst/>
              <a:rect l="l" t="t" r="r" b="b"/>
              <a:pathLst>
                <a:path w="107896" h="129192">
                  <a:moveTo>
                    <a:pt x="0" y="0"/>
                  </a:moveTo>
                  <a:lnTo>
                    <a:pt x="16525" y="0"/>
                  </a:lnTo>
                  <a:lnTo>
                    <a:pt x="16525" y="54964"/>
                  </a:lnTo>
                  <a:lnTo>
                    <a:pt x="91371" y="54964"/>
                  </a:lnTo>
                  <a:lnTo>
                    <a:pt x="91371" y="0"/>
                  </a:lnTo>
                  <a:lnTo>
                    <a:pt x="107896" y="0"/>
                  </a:lnTo>
                  <a:lnTo>
                    <a:pt x="107896" y="129192"/>
                  </a:lnTo>
                  <a:lnTo>
                    <a:pt x="91371" y="129192"/>
                  </a:lnTo>
                  <a:lnTo>
                    <a:pt x="91371" y="68396"/>
                  </a:lnTo>
                  <a:lnTo>
                    <a:pt x="16525" y="68396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5" name="TextBox 74"/>
            <p:cNvSpPr txBox="1">
              <a:spLocks/>
            </p:cNvSpPr>
            <p:nvPr/>
          </p:nvSpPr>
          <p:spPr>
            <a:xfrm>
              <a:off x="11239332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54964"/>
                  </a:lnTo>
                  <a:lnTo>
                    <a:pt x="75430" y="54964"/>
                  </a:lnTo>
                  <a:lnTo>
                    <a:pt x="75430" y="68219"/>
                  </a:lnTo>
                  <a:lnTo>
                    <a:pt x="16525" y="68219"/>
                  </a:lnTo>
                  <a:lnTo>
                    <a:pt x="16525" y="115760"/>
                  </a:lnTo>
                  <a:lnTo>
                    <a:pt x="79221" y="115760"/>
                  </a:lnTo>
                  <a:lnTo>
                    <a:pt x="79221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62" name="Freeform 9"/>
          <p:cNvSpPr>
            <a:spLocks noEditPoints="1"/>
          </p:cNvSpPr>
          <p:nvPr/>
        </p:nvSpPr>
        <p:spPr bwMode="auto">
          <a:xfrm>
            <a:off x="10579888" y="371026"/>
            <a:ext cx="1417689" cy="783522"/>
          </a:xfrm>
          <a:custGeom>
            <a:avLst/>
            <a:gdLst>
              <a:gd name="T0" fmla="*/ 279 w 326"/>
              <a:gd name="T1" fmla="*/ 180 h 180"/>
              <a:gd name="T2" fmla="*/ 271 w 326"/>
              <a:gd name="T3" fmla="*/ 179 h 180"/>
              <a:gd name="T4" fmla="*/ 45 w 326"/>
              <a:gd name="T5" fmla="*/ 179 h 180"/>
              <a:gd name="T6" fmla="*/ 6 w 326"/>
              <a:gd name="T7" fmla="*/ 153 h 180"/>
              <a:gd name="T8" fmla="*/ 0 w 326"/>
              <a:gd name="T9" fmla="*/ 129 h 180"/>
              <a:gd name="T10" fmla="*/ 32 w 326"/>
              <a:gd name="T11" fmla="*/ 82 h 180"/>
              <a:gd name="T12" fmla="*/ 30 w 326"/>
              <a:gd name="T13" fmla="*/ 70 h 180"/>
              <a:gd name="T14" fmla="*/ 100 w 326"/>
              <a:gd name="T15" fmla="*/ 0 h 180"/>
              <a:gd name="T16" fmla="*/ 154 w 326"/>
              <a:gd name="T17" fmla="*/ 26 h 180"/>
              <a:gd name="T18" fmla="*/ 187 w 326"/>
              <a:gd name="T19" fmla="*/ 16 h 180"/>
              <a:gd name="T20" fmla="*/ 242 w 326"/>
              <a:gd name="T21" fmla="*/ 55 h 180"/>
              <a:gd name="T22" fmla="*/ 245 w 326"/>
              <a:gd name="T23" fmla="*/ 54 h 180"/>
              <a:gd name="T24" fmla="*/ 280 w 326"/>
              <a:gd name="T25" fmla="*/ 85 h 180"/>
              <a:gd name="T26" fmla="*/ 326 w 326"/>
              <a:gd name="T27" fmla="*/ 132 h 180"/>
              <a:gd name="T28" fmla="*/ 279 w 326"/>
              <a:gd name="T29" fmla="*/ 180 h 180"/>
              <a:gd name="T30" fmla="*/ 100 w 326"/>
              <a:gd name="T31" fmla="*/ 4 h 180"/>
              <a:gd name="T32" fmla="*/ 34 w 326"/>
              <a:gd name="T33" fmla="*/ 70 h 180"/>
              <a:gd name="T34" fmla="*/ 36 w 326"/>
              <a:gd name="T35" fmla="*/ 83 h 180"/>
              <a:gd name="T36" fmla="*/ 36 w 326"/>
              <a:gd name="T37" fmla="*/ 85 h 180"/>
              <a:gd name="T38" fmla="*/ 35 w 326"/>
              <a:gd name="T39" fmla="*/ 86 h 180"/>
              <a:gd name="T40" fmla="*/ 4 w 326"/>
              <a:gd name="T41" fmla="*/ 129 h 180"/>
              <a:gd name="T42" fmla="*/ 10 w 326"/>
              <a:gd name="T43" fmla="*/ 151 h 180"/>
              <a:gd name="T44" fmla="*/ 10 w 326"/>
              <a:gd name="T45" fmla="*/ 151 h 180"/>
              <a:gd name="T46" fmla="*/ 45 w 326"/>
              <a:gd name="T47" fmla="*/ 175 h 180"/>
              <a:gd name="T48" fmla="*/ 271 w 326"/>
              <a:gd name="T49" fmla="*/ 175 h 180"/>
              <a:gd name="T50" fmla="*/ 272 w 326"/>
              <a:gd name="T51" fmla="*/ 175 h 180"/>
              <a:gd name="T52" fmla="*/ 279 w 326"/>
              <a:gd name="T53" fmla="*/ 176 h 180"/>
              <a:gd name="T54" fmla="*/ 322 w 326"/>
              <a:gd name="T55" fmla="*/ 132 h 180"/>
              <a:gd name="T56" fmla="*/ 279 w 326"/>
              <a:gd name="T57" fmla="*/ 89 h 180"/>
              <a:gd name="T58" fmla="*/ 278 w 326"/>
              <a:gd name="T59" fmla="*/ 89 h 180"/>
              <a:gd name="T60" fmla="*/ 276 w 326"/>
              <a:gd name="T61" fmla="*/ 89 h 180"/>
              <a:gd name="T62" fmla="*/ 276 w 326"/>
              <a:gd name="T63" fmla="*/ 87 h 180"/>
              <a:gd name="T64" fmla="*/ 245 w 326"/>
              <a:gd name="T65" fmla="*/ 58 h 180"/>
              <a:gd name="T66" fmla="*/ 240 w 326"/>
              <a:gd name="T67" fmla="*/ 59 h 180"/>
              <a:gd name="T68" fmla="*/ 239 w 326"/>
              <a:gd name="T69" fmla="*/ 59 h 180"/>
              <a:gd name="T70" fmla="*/ 238 w 326"/>
              <a:gd name="T71" fmla="*/ 57 h 180"/>
              <a:gd name="T72" fmla="*/ 187 w 326"/>
              <a:gd name="T73" fmla="*/ 20 h 180"/>
              <a:gd name="T74" fmla="*/ 155 w 326"/>
              <a:gd name="T75" fmla="*/ 30 h 180"/>
              <a:gd name="T76" fmla="*/ 153 w 326"/>
              <a:gd name="T77" fmla="*/ 31 h 180"/>
              <a:gd name="T78" fmla="*/ 152 w 326"/>
              <a:gd name="T79" fmla="*/ 30 h 180"/>
              <a:gd name="T80" fmla="*/ 100 w 326"/>
              <a:gd name="T81" fmla="*/ 4 h 1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326" h="180">
                <a:moveTo>
                  <a:pt x="279" y="180"/>
                </a:moveTo>
                <a:cubicBezTo>
                  <a:pt x="276" y="180"/>
                  <a:pt x="274" y="179"/>
                  <a:pt x="271" y="179"/>
                </a:cubicBezTo>
                <a:cubicBezTo>
                  <a:pt x="45" y="179"/>
                  <a:pt x="45" y="179"/>
                  <a:pt x="45" y="179"/>
                </a:cubicBezTo>
                <a:cubicBezTo>
                  <a:pt x="28" y="179"/>
                  <a:pt x="13" y="169"/>
                  <a:pt x="6" y="153"/>
                </a:cubicBezTo>
                <a:cubicBezTo>
                  <a:pt x="2" y="146"/>
                  <a:pt x="0" y="137"/>
                  <a:pt x="0" y="129"/>
                </a:cubicBezTo>
                <a:cubicBezTo>
                  <a:pt x="0" y="109"/>
                  <a:pt x="13" y="90"/>
                  <a:pt x="32" y="82"/>
                </a:cubicBezTo>
                <a:cubicBezTo>
                  <a:pt x="31" y="78"/>
                  <a:pt x="30" y="74"/>
                  <a:pt x="30" y="70"/>
                </a:cubicBezTo>
                <a:cubicBezTo>
                  <a:pt x="30" y="32"/>
                  <a:pt x="62" y="0"/>
                  <a:pt x="100" y="0"/>
                </a:cubicBezTo>
                <a:cubicBezTo>
                  <a:pt x="121" y="0"/>
                  <a:pt x="141" y="10"/>
                  <a:pt x="154" y="26"/>
                </a:cubicBezTo>
                <a:cubicBezTo>
                  <a:pt x="164" y="19"/>
                  <a:pt x="175" y="16"/>
                  <a:pt x="187" y="16"/>
                </a:cubicBezTo>
                <a:cubicBezTo>
                  <a:pt x="212" y="16"/>
                  <a:pt x="233" y="31"/>
                  <a:pt x="242" y="55"/>
                </a:cubicBezTo>
                <a:cubicBezTo>
                  <a:pt x="243" y="54"/>
                  <a:pt x="244" y="54"/>
                  <a:pt x="245" y="54"/>
                </a:cubicBezTo>
                <a:cubicBezTo>
                  <a:pt x="263" y="54"/>
                  <a:pt x="278" y="68"/>
                  <a:pt x="280" y="85"/>
                </a:cubicBezTo>
                <a:cubicBezTo>
                  <a:pt x="305" y="86"/>
                  <a:pt x="326" y="107"/>
                  <a:pt x="326" y="132"/>
                </a:cubicBezTo>
                <a:cubicBezTo>
                  <a:pt x="326" y="158"/>
                  <a:pt x="305" y="180"/>
                  <a:pt x="279" y="180"/>
                </a:cubicBezTo>
                <a:close/>
                <a:moveTo>
                  <a:pt x="100" y="4"/>
                </a:moveTo>
                <a:cubicBezTo>
                  <a:pt x="64" y="4"/>
                  <a:pt x="34" y="34"/>
                  <a:pt x="34" y="70"/>
                </a:cubicBezTo>
                <a:cubicBezTo>
                  <a:pt x="34" y="75"/>
                  <a:pt x="35" y="79"/>
                  <a:pt x="36" y="83"/>
                </a:cubicBezTo>
                <a:cubicBezTo>
                  <a:pt x="36" y="85"/>
                  <a:pt x="36" y="85"/>
                  <a:pt x="36" y="85"/>
                </a:cubicBezTo>
                <a:cubicBezTo>
                  <a:pt x="35" y="86"/>
                  <a:pt x="35" y="86"/>
                  <a:pt x="35" y="86"/>
                </a:cubicBezTo>
                <a:cubicBezTo>
                  <a:pt x="16" y="92"/>
                  <a:pt x="4" y="110"/>
                  <a:pt x="4" y="129"/>
                </a:cubicBezTo>
                <a:cubicBezTo>
                  <a:pt x="4" y="137"/>
                  <a:pt x="6" y="144"/>
                  <a:pt x="10" y="151"/>
                </a:cubicBezTo>
                <a:cubicBezTo>
                  <a:pt x="10" y="151"/>
                  <a:pt x="10" y="151"/>
                  <a:pt x="10" y="151"/>
                </a:cubicBezTo>
                <a:cubicBezTo>
                  <a:pt x="16" y="166"/>
                  <a:pt x="30" y="175"/>
                  <a:pt x="45" y="175"/>
                </a:cubicBezTo>
                <a:cubicBezTo>
                  <a:pt x="271" y="175"/>
                  <a:pt x="271" y="175"/>
                  <a:pt x="271" y="175"/>
                </a:cubicBezTo>
                <a:cubicBezTo>
                  <a:pt x="272" y="175"/>
                  <a:pt x="272" y="175"/>
                  <a:pt x="272" y="175"/>
                </a:cubicBezTo>
                <a:cubicBezTo>
                  <a:pt x="274" y="175"/>
                  <a:pt x="276" y="176"/>
                  <a:pt x="279" y="176"/>
                </a:cubicBezTo>
                <a:cubicBezTo>
                  <a:pt x="303" y="176"/>
                  <a:pt x="322" y="156"/>
                  <a:pt x="322" y="132"/>
                </a:cubicBezTo>
                <a:cubicBezTo>
                  <a:pt x="322" y="109"/>
                  <a:pt x="303" y="89"/>
                  <a:pt x="279" y="89"/>
                </a:cubicBezTo>
                <a:cubicBezTo>
                  <a:pt x="279" y="89"/>
                  <a:pt x="278" y="89"/>
                  <a:pt x="278" y="89"/>
                </a:cubicBezTo>
                <a:cubicBezTo>
                  <a:pt x="276" y="89"/>
                  <a:pt x="276" y="89"/>
                  <a:pt x="276" y="89"/>
                </a:cubicBezTo>
                <a:cubicBezTo>
                  <a:pt x="276" y="87"/>
                  <a:pt x="276" y="87"/>
                  <a:pt x="276" y="87"/>
                </a:cubicBezTo>
                <a:cubicBezTo>
                  <a:pt x="275" y="71"/>
                  <a:pt x="261" y="58"/>
                  <a:pt x="245" y="58"/>
                </a:cubicBezTo>
                <a:cubicBezTo>
                  <a:pt x="243" y="58"/>
                  <a:pt x="242" y="59"/>
                  <a:pt x="240" y="59"/>
                </a:cubicBezTo>
                <a:cubicBezTo>
                  <a:pt x="239" y="59"/>
                  <a:pt x="239" y="59"/>
                  <a:pt x="239" y="59"/>
                </a:cubicBezTo>
                <a:cubicBezTo>
                  <a:pt x="238" y="57"/>
                  <a:pt x="238" y="57"/>
                  <a:pt x="238" y="57"/>
                </a:cubicBezTo>
                <a:cubicBezTo>
                  <a:pt x="231" y="35"/>
                  <a:pt x="210" y="20"/>
                  <a:pt x="187" y="20"/>
                </a:cubicBezTo>
                <a:cubicBezTo>
                  <a:pt x="175" y="20"/>
                  <a:pt x="164" y="23"/>
                  <a:pt x="155" y="30"/>
                </a:cubicBezTo>
                <a:cubicBezTo>
                  <a:pt x="153" y="31"/>
                  <a:pt x="153" y="31"/>
                  <a:pt x="153" y="31"/>
                </a:cubicBezTo>
                <a:cubicBezTo>
                  <a:pt x="152" y="30"/>
                  <a:pt x="152" y="30"/>
                  <a:pt x="152" y="30"/>
                </a:cubicBezTo>
                <a:cubicBezTo>
                  <a:pt x="139" y="14"/>
                  <a:pt x="121" y="4"/>
                  <a:pt x="100" y="4"/>
                </a:cubicBezTo>
                <a:close/>
              </a:path>
            </a:pathLst>
          </a:custGeom>
          <a:solidFill>
            <a:srgbClr val="34697F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3" name="Content Placeholder 8"/>
          <p:cNvSpPr txBox="1">
            <a:spLocks/>
          </p:cNvSpPr>
          <p:nvPr userDrawn="1"/>
        </p:nvSpPr>
        <p:spPr>
          <a:xfrm>
            <a:off x="11104408" y="6418626"/>
            <a:ext cx="734493" cy="22860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000" dirty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  <a:fld id="{38743595-4496-5147-A886-7D133864DF76}" type="slidenum">
              <a:rPr lang="en-US" sz="1000" smtClean="0">
                <a:solidFill>
                  <a:srgbClr val="3F3F3F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r"/>
              <a:t>‹#›</a:t>
            </a:fld>
            <a:endParaRPr lang="en-US" sz="1000" dirty="0"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4" name="MSIPCMContentMarking" descr="{&quot;HashCode&quot;:-356254672,&quot;Placement&quot;:&quot;Footer&quot;}">
            <a:extLst>
              <a:ext uri="{FF2B5EF4-FFF2-40B4-BE49-F238E27FC236}">
                <a16:creationId xmlns:a16="http://schemas.microsoft.com/office/drawing/2014/main" xmlns="" id="{B869DC3D-CEDB-48B8-8C95-B8965AA1143A}"/>
              </a:ext>
            </a:extLst>
          </p:cNvPr>
          <p:cNvSpPr txBox="1"/>
          <p:nvPr userDrawn="1"/>
        </p:nvSpPr>
        <p:spPr>
          <a:xfrm>
            <a:off x="10717460" y="6413372"/>
            <a:ext cx="709344" cy="228163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noAutofit/>
          </a:bodyPr>
          <a:lstStyle/>
          <a:p>
            <a:pPr algn="l" defTabSz="456758" fontAlgn="base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41414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oprietary</a:t>
            </a:r>
            <a:endParaRPr lang="en-US" sz="800" dirty="0" err="1">
              <a:solidFill>
                <a:srgbClr val="41414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5" name="Rectangle 24"/>
          <p:cNvSpPr/>
          <p:nvPr userDrawn="1"/>
        </p:nvSpPr>
        <p:spPr>
          <a:xfrm>
            <a:off x="8260080" y="1554479"/>
            <a:ext cx="91440" cy="5303521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6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457201" y="2011680"/>
            <a:ext cx="7406640" cy="4162001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Body text</a:t>
            </a: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Vision to action">
    <p:bg>
      <p:bgPr>
        <a:solidFill>
          <a:srgbClr val="064E6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ct 2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3844459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62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26" name="Object 2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Rectangle 26"/>
          <p:cNvSpPr/>
          <p:nvPr userDrawn="1"/>
        </p:nvSpPr>
        <p:spPr>
          <a:xfrm>
            <a:off x="0" y="4732020"/>
            <a:ext cx="12192000" cy="2125980"/>
          </a:xfrm>
          <a:prstGeom prst="rect">
            <a:avLst/>
          </a:prstGeom>
          <a:gradFill flip="none" rotWithShape="1">
            <a:gsLst>
              <a:gs pos="67000">
                <a:schemeClr val="bg1"/>
              </a:gs>
              <a:gs pos="100000">
                <a:schemeClr val="bg1"/>
              </a:gs>
              <a:gs pos="55000">
                <a:schemeClr val="accent2"/>
              </a:gs>
              <a:gs pos="0">
                <a:schemeClr val="accent2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Rectangle 27"/>
          <p:cNvSpPr/>
          <p:nvPr userDrawn="1"/>
        </p:nvSpPr>
        <p:spPr>
          <a:xfrm>
            <a:off x="1589" y="0"/>
            <a:ext cx="12188825" cy="47320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9" name="Picture 2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588" y="0"/>
            <a:ext cx="6126479" cy="4732020"/>
          </a:xfrm>
          <a:prstGeom prst="rect">
            <a:avLst/>
          </a:prstGeom>
        </p:spPr>
      </p:pic>
      <p:sp>
        <p:nvSpPr>
          <p:cNvPr id="30" name="Rectangle 29"/>
          <p:cNvSpPr/>
          <p:nvPr userDrawn="1"/>
        </p:nvSpPr>
        <p:spPr>
          <a:xfrm flipH="1">
            <a:off x="6015106" y="1"/>
            <a:ext cx="665217" cy="473202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1" dirty="0">
              <a:solidFill>
                <a:schemeClr val="bg2">
                  <a:lumMod val="40000"/>
                  <a:lumOff val="6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Title 2"/>
          <p:cNvSpPr txBox="1">
            <a:spLocks/>
          </p:cNvSpPr>
          <p:nvPr userDrawn="1"/>
        </p:nvSpPr>
        <p:spPr>
          <a:xfrm>
            <a:off x="7901547" y="3658243"/>
            <a:ext cx="3949108" cy="727131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0" i="0" kern="1200">
                <a:solidFill>
                  <a:schemeClr val="accent2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sz="5400" b="1" dirty="0">
                <a:solidFill>
                  <a:srgbClr val="00859B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</a:rPr>
              <a:t>into action.</a:t>
            </a:r>
          </a:p>
        </p:txBody>
      </p:sp>
      <p:sp>
        <p:nvSpPr>
          <p:cNvPr id="32" name="Title 1"/>
          <p:cNvSpPr txBox="1">
            <a:spLocks/>
          </p:cNvSpPr>
          <p:nvPr userDrawn="1"/>
        </p:nvSpPr>
        <p:spPr>
          <a:xfrm>
            <a:off x="5061285" y="2489624"/>
            <a:ext cx="5205181" cy="177082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7200" b="0" i="0" kern="1200">
                <a:solidFill>
                  <a:schemeClr val="bg1"/>
                </a:solidFill>
                <a:latin typeface="Domaine Display Bold" panose="020A0803080505060203" pitchFamily="18" charset="0"/>
                <a:ea typeface="Open Sans" panose="020B0606030504020204" pitchFamily="34" charset="0"/>
                <a:cs typeface="Domaine Display Bold" panose="020A0803080505060203" pitchFamily="18" charset="0"/>
              </a:defRPr>
            </a:lvl1pPr>
          </a:lstStyle>
          <a:p>
            <a:pPr algn="l">
              <a:lnSpc>
                <a:spcPct val="90000"/>
              </a:lnSpc>
            </a:pPr>
            <a:r>
              <a:rPr lang="en-US" sz="5400" b="1" dirty="0">
                <a:solidFill>
                  <a:schemeClr val="accent2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</a:rPr>
              <a:t>Turning vision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xmlns="" id="{0860573B-7502-4EE6-AE67-B3B2FFD71F32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8654511" y="5940719"/>
            <a:ext cx="3097787" cy="413801"/>
            <a:chOff x="279400" y="2781300"/>
            <a:chExt cx="8585200" cy="1092200"/>
          </a:xfrm>
        </p:grpSpPr>
        <p:sp>
          <p:nvSpPr>
            <p:cNvPr id="34" name="Freeform 5">
              <a:extLst>
                <a:ext uri="{FF2B5EF4-FFF2-40B4-BE49-F238E27FC236}">
                  <a16:creationId xmlns:a16="http://schemas.microsoft.com/office/drawing/2014/main" xmlns="" id="{264CBBCF-7D70-4513-96B2-BDE78A1BE2AC}"/>
                </a:ext>
              </a:extLst>
            </p:cNvPr>
            <p:cNvSpPr>
              <a:spLocks/>
            </p:cNvSpPr>
            <p:nvPr/>
          </p:nvSpPr>
          <p:spPr bwMode="auto">
            <a:xfrm>
              <a:off x="4605338" y="2816225"/>
              <a:ext cx="958850" cy="1035050"/>
            </a:xfrm>
            <a:custGeom>
              <a:avLst/>
              <a:gdLst>
                <a:gd name="T0" fmla="*/ 142 w 604"/>
                <a:gd name="T1" fmla="*/ 272 h 652"/>
                <a:gd name="T2" fmla="*/ 142 w 604"/>
                <a:gd name="T3" fmla="*/ 57 h 652"/>
                <a:gd name="T4" fmla="*/ 206 w 604"/>
                <a:gd name="T5" fmla="*/ 57 h 652"/>
                <a:gd name="T6" fmla="*/ 206 w 604"/>
                <a:gd name="T7" fmla="*/ 0 h 652"/>
                <a:gd name="T8" fmla="*/ 0 w 604"/>
                <a:gd name="T9" fmla="*/ 0 h 652"/>
                <a:gd name="T10" fmla="*/ 0 w 604"/>
                <a:gd name="T11" fmla="*/ 57 h 652"/>
                <a:gd name="T12" fmla="*/ 64 w 604"/>
                <a:gd name="T13" fmla="*/ 57 h 652"/>
                <a:gd name="T14" fmla="*/ 64 w 604"/>
                <a:gd name="T15" fmla="*/ 587 h 652"/>
                <a:gd name="T16" fmla="*/ 0 w 604"/>
                <a:gd name="T17" fmla="*/ 587 h 652"/>
                <a:gd name="T18" fmla="*/ 0 w 604"/>
                <a:gd name="T19" fmla="*/ 652 h 652"/>
                <a:gd name="T20" fmla="*/ 206 w 604"/>
                <a:gd name="T21" fmla="*/ 652 h 652"/>
                <a:gd name="T22" fmla="*/ 206 w 604"/>
                <a:gd name="T23" fmla="*/ 587 h 652"/>
                <a:gd name="T24" fmla="*/ 142 w 604"/>
                <a:gd name="T25" fmla="*/ 587 h 652"/>
                <a:gd name="T26" fmla="*/ 142 w 604"/>
                <a:gd name="T27" fmla="*/ 329 h 652"/>
                <a:gd name="T28" fmla="*/ 462 w 604"/>
                <a:gd name="T29" fmla="*/ 329 h 652"/>
                <a:gd name="T30" fmla="*/ 462 w 604"/>
                <a:gd name="T31" fmla="*/ 587 h 652"/>
                <a:gd name="T32" fmla="*/ 398 w 604"/>
                <a:gd name="T33" fmla="*/ 587 h 652"/>
                <a:gd name="T34" fmla="*/ 398 w 604"/>
                <a:gd name="T35" fmla="*/ 652 h 652"/>
                <a:gd name="T36" fmla="*/ 604 w 604"/>
                <a:gd name="T37" fmla="*/ 652 h 652"/>
                <a:gd name="T38" fmla="*/ 604 w 604"/>
                <a:gd name="T39" fmla="*/ 587 h 652"/>
                <a:gd name="T40" fmla="*/ 540 w 604"/>
                <a:gd name="T41" fmla="*/ 587 h 652"/>
                <a:gd name="T42" fmla="*/ 540 w 604"/>
                <a:gd name="T43" fmla="*/ 57 h 652"/>
                <a:gd name="T44" fmla="*/ 604 w 604"/>
                <a:gd name="T45" fmla="*/ 57 h 652"/>
                <a:gd name="T46" fmla="*/ 604 w 604"/>
                <a:gd name="T47" fmla="*/ 0 h 652"/>
                <a:gd name="T48" fmla="*/ 398 w 604"/>
                <a:gd name="T49" fmla="*/ 0 h 652"/>
                <a:gd name="T50" fmla="*/ 398 w 604"/>
                <a:gd name="T51" fmla="*/ 57 h 652"/>
                <a:gd name="T52" fmla="*/ 462 w 604"/>
                <a:gd name="T53" fmla="*/ 57 h 652"/>
                <a:gd name="T54" fmla="*/ 462 w 604"/>
                <a:gd name="T55" fmla="*/ 272 h 652"/>
                <a:gd name="T56" fmla="*/ 142 w 604"/>
                <a:gd name="T57" fmla="*/ 272 h 6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604" h="652">
                  <a:moveTo>
                    <a:pt x="142" y="272"/>
                  </a:moveTo>
                  <a:lnTo>
                    <a:pt x="142" y="57"/>
                  </a:lnTo>
                  <a:lnTo>
                    <a:pt x="206" y="57"/>
                  </a:lnTo>
                  <a:lnTo>
                    <a:pt x="206" y="0"/>
                  </a:lnTo>
                  <a:lnTo>
                    <a:pt x="0" y="0"/>
                  </a:lnTo>
                  <a:lnTo>
                    <a:pt x="0" y="57"/>
                  </a:lnTo>
                  <a:lnTo>
                    <a:pt x="64" y="57"/>
                  </a:lnTo>
                  <a:lnTo>
                    <a:pt x="64" y="587"/>
                  </a:lnTo>
                  <a:lnTo>
                    <a:pt x="0" y="587"/>
                  </a:lnTo>
                  <a:lnTo>
                    <a:pt x="0" y="652"/>
                  </a:lnTo>
                  <a:lnTo>
                    <a:pt x="206" y="652"/>
                  </a:lnTo>
                  <a:lnTo>
                    <a:pt x="206" y="587"/>
                  </a:lnTo>
                  <a:lnTo>
                    <a:pt x="142" y="587"/>
                  </a:lnTo>
                  <a:lnTo>
                    <a:pt x="142" y="329"/>
                  </a:lnTo>
                  <a:lnTo>
                    <a:pt x="462" y="329"/>
                  </a:lnTo>
                  <a:lnTo>
                    <a:pt x="462" y="587"/>
                  </a:lnTo>
                  <a:lnTo>
                    <a:pt x="398" y="587"/>
                  </a:lnTo>
                  <a:lnTo>
                    <a:pt x="398" y="652"/>
                  </a:lnTo>
                  <a:lnTo>
                    <a:pt x="604" y="652"/>
                  </a:lnTo>
                  <a:lnTo>
                    <a:pt x="604" y="587"/>
                  </a:lnTo>
                  <a:lnTo>
                    <a:pt x="540" y="587"/>
                  </a:lnTo>
                  <a:lnTo>
                    <a:pt x="540" y="57"/>
                  </a:lnTo>
                  <a:lnTo>
                    <a:pt x="604" y="57"/>
                  </a:lnTo>
                  <a:lnTo>
                    <a:pt x="604" y="0"/>
                  </a:lnTo>
                  <a:lnTo>
                    <a:pt x="398" y="0"/>
                  </a:lnTo>
                  <a:lnTo>
                    <a:pt x="398" y="57"/>
                  </a:lnTo>
                  <a:lnTo>
                    <a:pt x="462" y="57"/>
                  </a:lnTo>
                  <a:lnTo>
                    <a:pt x="462" y="272"/>
                  </a:lnTo>
                  <a:lnTo>
                    <a:pt x="142" y="27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5" name="Freeform 6">
              <a:extLst>
                <a:ext uri="{FF2B5EF4-FFF2-40B4-BE49-F238E27FC236}">
                  <a16:creationId xmlns:a16="http://schemas.microsoft.com/office/drawing/2014/main" xmlns="" id="{CB55B7D8-3723-4CA7-83E2-4ECF2520F18B}"/>
                </a:ext>
              </a:extLst>
            </p:cNvPr>
            <p:cNvSpPr>
              <a:spLocks/>
            </p:cNvSpPr>
            <p:nvPr/>
          </p:nvSpPr>
          <p:spPr bwMode="auto">
            <a:xfrm>
              <a:off x="8042275" y="2816225"/>
              <a:ext cx="822325" cy="1035050"/>
            </a:xfrm>
            <a:custGeom>
              <a:avLst/>
              <a:gdLst>
                <a:gd name="T0" fmla="*/ 27 w 73"/>
                <a:gd name="T1" fmla="*/ 82 h 91"/>
                <a:gd name="T2" fmla="*/ 19 w 73"/>
                <a:gd name="T3" fmla="*/ 82 h 91"/>
                <a:gd name="T4" fmla="*/ 19 w 73"/>
                <a:gd name="T5" fmla="*/ 54 h 91"/>
                <a:gd name="T6" fmla="*/ 37 w 73"/>
                <a:gd name="T7" fmla="*/ 35 h 91"/>
                <a:gd name="T8" fmla="*/ 55 w 73"/>
                <a:gd name="T9" fmla="*/ 54 h 91"/>
                <a:gd name="T10" fmla="*/ 55 w 73"/>
                <a:gd name="T11" fmla="*/ 82 h 91"/>
                <a:gd name="T12" fmla="*/ 46 w 73"/>
                <a:gd name="T13" fmla="*/ 82 h 91"/>
                <a:gd name="T14" fmla="*/ 46 w 73"/>
                <a:gd name="T15" fmla="*/ 91 h 91"/>
                <a:gd name="T16" fmla="*/ 73 w 73"/>
                <a:gd name="T17" fmla="*/ 91 h 91"/>
                <a:gd name="T18" fmla="*/ 73 w 73"/>
                <a:gd name="T19" fmla="*/ 82 h 91"/>
                <a:gd name="T20" fmla="*/ 65 w 73"/>
                <a:gd name="T21" fmla="*/ 82 h 91"/>
                <a:gd name="T22" fmla="*/ 65 w 73"/>
                <a:gd name="T23" fmla="*/ 54 h 91"/>
                <a:gd name="T24" fmla="*/ 38 w 73"/>
                <a:gd name="T25" fmla="*/ 26 h 91"/>
                <a:gd name="T26" fmla="*/ 19 w 73"/>
                <a:gd name="T27" fmla="*/ 35 h 91"/>
                <a:gd name="T28" fmla="*/ 19 w 73"/>
                <a:gd name="T29" fmla="*/ 0 h 91"/>
                <a:gd name="T30" fmla="*/ 0 w 73"/>
                <a:gd name="T31" fmla="*/ 0 h 91"/>
                <a:gd name="T32" fmla="*/ 0 w 73"/>
                <a:gd name="T33" fmla="*/ 8 h 91"/>
                <a:gd name="T34" fmla="*/ 9 w 73"/>
                <a:gd name="T35" fmla="*/ 8 h 91"/>
                <a:gd name="T36" fmla="*/ 9 w 73"/>
                <a:gd name="T37" fmla="*/ 82 h 91"/>
                <a:gd name="T38" fmla="*/ 0 w 73"/>
                <a:gd name="T39" fmla="*/ 82 h 91"/>
                <a:gd name="T40" fmla="*/ 0 w 73"/>
                <a:gd name="T41" fmla="*/ 91 h 91"/>
                <a:gd name="T42" fmla="*/ 27 w 73"/>
                <a:gd name="T43" fmla="*/ 91 h 91"/>
                <a:gd name="T44" fmla="*/ 27 w 73"/>
                <a:gd name="T45" fmla="*/ 82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3" h="91">
                  <a:moveTo>
                    <a:pt x="27" y="82"/>
                  </a:moveTo>
                  <a:cubicBezTo>
                    <a:pt x="19" y="82"/>
                    <a:pt x="19" y="82"/>
                    <a:pt x="19" y="82"/>
                  </a:cubicBezTo>
                  <a:cubicBezTo>
                    <a:pt x="19" y="54"/>
                    <a:pt x="19" y="54"/>
                    <a:pt x="19" y="54"/>
                  </a:cubicBezTo>
                  <a:cubicBezTo>
                    <a:pt x="19" y="41"/>
                    <a:pt x="25" y="35"/>
                    <a:pt x="37" y="35"/>
                  </a:cubicBezTo>
                  <a:cubicBezTo>
                    <a:pt x="48" y="35"/>
                    <a:pt x="55" y="41"/>
                    <a:pt x="55" y="54"/>
                  </a:cubicBezTo>
                  <a:cubicBezTo>
                    <a:pt x="55" y="82"/>
                    <a:pt x="55" y="82"/>
                    <a:pt x="55" y="82"/>
                  </a:cubicBezTo>
                  <a:cubicBezTo>
                    <a:pt x="46" y="82"/>
                    <a:pt x="46" y="82"/>
                    <a:pt x="46" y="82"/>
                  </a:cubicBezTo>
                  <a:cubicBezTo>
                    <a:pt x="46" y="91"/>
                    <a:pt x="46" y="91"/>
                    <a:pt x="46" y="91"/>
                  </a:cubicBezTo>
                  <a:cubicBezTo>
                    <a:pt x="73" y="91"/>
                    <a:pt x="73" y="91"/>
                    <a:pt x="73" y="91"/>
                  </a:cubicBezTo>
                  <a:cubicBezTo>
                    <a:pt x="73" y="82"/>
                    <a:pt x="73" y="82"/>
                    <a:pt x="73" y="82"/>
                  </a:cubicBezTo>
                  <a:cubicBezTo>
                    <a:pt x="65" y="82"/>
                    <a:pt x="65" y="82"/>
                    <a:pt x="65" y="82"/>
                  </a:cubicBezTo>
                  <a:cubicBezTo>
                    <a:pt x="65" y="54"/>
                    <a:pt x="65" y="54"/>
                    <a:pt x="65" y="54"/>
                  </a:cubicBezTo>
                  <a:cubicBezTo>
                    <a:pt x="65" y="39"/>
                    <a:pt x="55" y="26"/>
                    <a:pt x="38" y="26"/>
                  </a:cubicBezTo>
                  <a:cubicBezTo>
                    <a:pt x="30" y="26"/>
                    <a:pt x="23" y="29"/>
                    <a:pt x="19" y="35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82"/>
                    <a:pt x="9" y="82"/>
                    <a:pt x="9" y="82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0" y="91"/>
                    <a:pt x="0" y="91"/>
                    <a:pt x="0" y="91"/>
                  </a:cubicBezTo>
                  <a:cubicBezTo>
                    <a:pt x="27" y="91"/>
                    <a:pt x="27" y="91"/>
                    <a:pt x="27" y="91"/>
                  </a:cubicBezTo>
                  <a:lnTo>
                    <a:pt x="27" y="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6" name="Freeform 7">
              <a:extLst>
                <a:ext uri="{FF2B5EF4-FFF2-40B4-BE49-F238E27FC236}">
                  <a16:creationId xmlns:a16="http://schemas.microsoft.com/office/drawing/2014/main" xmlns="" id="{66826270-096D-4A0F-B57D-78D557210E9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19850" y="3111500"/>
              <a:ext cx="822325" cy="750888"/>
            </a:xfrm>
            <a:custGeom>
              <a:avLst/>
              <a:gdLst>
                <a:gd name="T0" fmla="*/ 73 w 73"/>
                <a:gd name="T1" fmla="*/ 10 h 66"/>
                <a:gd name="T2" fmla="*/ 73 w 73"/>
                <a:gd name="T3" fmla="*/ 2 h 66"/>
                <a:gd name="T4" fmla="*/ 54 w 73"/>
                <a:gd name="T5" fmla="*/ 2 h 66"/>
                <a:gd name="T6" fmla="*/ 54 w 73"/>
                <a:gd name="T7" fmla="*/ 11 h 66"/>
                <a:gd name="T8" fmla="*/ 31 w 73"/>
                <a:gd name="T9" fmla="*/ 0 h 66"/>
                <a:gd name="T10" fmla="*/ 0 w 73"/>
                <a:gd name="T11" fmla="*/ 33 h 66"/>
                <a:gd name="T12" fmla="*/ 31 w 73"/>
                <a:gd name="T13" fmla="*/ 66 h 66"/>
                <a:gd name="T14" fmla="*/ 54 w 73"/>
                <a:gd name="T15" fmla="*/ 55 h 66"/>
                <a:gd name="T16" fmla="*/ 54 w 73"/>
                <a:gd name="T17" fmla="*/ 65 h 66"/>
                <a:gd name="T18" fmla="*/ 73 w 73"/>
                <a:gd name="T19" fmla="*/ 65 h 66"/>
                <a:gd name="T20" fmla="*/ 73 w 73"/>
                <a:gd name="T21" fmla="*/ 56 h 66"/>
                <a:gd name="T22" fmla="*/ 64 w 73"/>
                <a:gd name="T23" fmla="*/ 56 h 66"/>
                <a:gd name="T24" fmla="*/ 64 w 73"/>
                <a:gd name="T25" fmla="*/ 10 h 66"/>
                <a:gd name="T26" fmla="*/ 73 w 73"/>
                <a:gd name="T27" fmla="*/ 10 h 66"/>
                <a:gd name="T28" fmla="*/ 33 w 73"/>
                <a:gd name="T29" fmla="*/ 58 h 66"/>
                <a:gd name="T30" fmla="*/ 11 w 73"/>
                <a:gd name="T31" fmla="*/ 33 h 66"/>
                <a:gd name="T32" fmla="*/ 33 w 73"/>
                <a:gd name="T33" fmla="*/ 9 h 66"/>
                <a:gd name="T34" fmla="*/ 54 w 73"/>
                <a:gd name="T35" fmla="*/ 33 h 66"/>
                <a:gd name="T36" fmla="*/ 33 w 73"/>
                <a:gd name="T37" fmla="*/ 5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3" h="66">
                  <a:moveTo>
                    <a:pt x="73" y="10"/>
                  </a:moveTo>
                  <a:cubicBezTo>
                    <a:pt x="73" y="2"/>
                    <a:pt x="73" y="2"/>
                    <a:pt x="73" y="2"/>
                  </a:cubicBezTo>
                  <a:cubicBezTo>
                    <a:pt x="54" y="2"/>
                    <a:pt x="54" y="2"/>
                    <a:pt x="54" y="2"/>
                  </a:cubicBezTo>
                  <a:cubicBezTo>
                    <a:pt x="54" y="11"/>
                    <a:pt x="54" y="11"/>
                    <a:pt x="54" y="11"/>
                  </a:cubicBezTo>
                  <a:cubicBezTo>
                    <a:pt x="49" y="4"/>
                    <a:pt x="41" y="0"/>
                    <a:pt x="31" y="0"/>
                  </a:cubicBezTo>
                  <a:cubicBezTo>
                    <a:pt x="13" y="0"/>
                    <a:pt x="0" y="14"/>
                    <a:pt x="0" y="33"/>
                  </a:cubicBezTo>
                  <a:cubicBezTo>
                    <a:pt x="0" y="52"/>
                    <a:pt x="13" y="66"/>
                    <a:pt x="31" y="66"/>
                  </a:cubicBezTo>
                  <a:cubicBezTo>
                    <a:pt x="41" y="66"/>
                    <a:pt x="49" y="62"/>
                    <a:pt x="54" y="55"/>
                  </a:cubicBezTo>
                  <a:cubicBezTo>
                    <a:pt x="54" y="65"/>
                    <a:pt x="54" y="65"/>
                    <a:pt x="54" y="65"/>
                  </a:cubicBezTo>
                  <a:cubicBezTo>
                    <a:pt x="73" y="65"/>
                    <a:pt x="73" y="65"/>
                    <a:pt x="73" y="65"/>
                  </a:cubicBezTo>
                  <a:cubicBezTo>
                    <a:pt x="73" y="56"/>
                    <a:pt x="73" y="56"/>
                    <a:pt x="73" y="56"/>
                  </a:cubicBezTo>
                  <a:cubicBezTo>
                    <a:pt x="64" y="56"/>
                    <a:pt x="64" y="56"/>
                    <a:pt x="64" y="56"/>
                  </a:cubicBezTo>
                  <a:cubicBezTo>
                    <a:pt x="64" y="10"/>
                    <a:pt x="64" y="10"/>
                    <a:pt x="64" y="10"/>
                  </a:cubicBezTo>
                  <a:lnTo>
                    <a:pt x="73" y="10"/>
                  </a:lnTo>
                  <a:close/>
                  <a:moveTo>
                    <a:pt x="33" y="58"/>
                  </a:moveTo>
                  <a:cubicBezTo>
                    <a:pt x="20" y="58"/>
                    <a:pt x="11" y="47"/>
                    <a:pt x="11" y="33"/>
                  </a:cubicBezTo>
                  <a:cubicBezTo>
                    <a:pt x="11" y="19"/>
                    <a:pt x="20" y="9"/>
                    <a:pt x="33" y="9"/>
                  </a:cubicBezTo>
                  <a:cubicBezTo>
                    <a:pt x="46" y="9"/>
                    <a:pt x="54" y="19"/>
                    <a:pt x="54" y="33"/>
                  </a:cubicBezTo>
                  <a:cubicBezTo>
                    <a:pt x="54" y="47"/>
                    <a:pt x="46" y="58"/>
                    <a:pt x="33" y="58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7" name="Freeform 8">
              <a:extLst>
                <a:ext uri="{FF2B5EF4-FFF2-40B4-BE49-F238E27FC236}">
                  <a16:creationId xmlns:a16="http://schemas.microsoft.com/office/drawing/2014/main" xmlns="" id="{D644210C-71FB-46C2-BB06-3DAD03BC87A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08638" y="3111500"/>
              <a:ext cx="731838" cy="750888"/>
            </a:xfrm>
            <a:custGeom>
              <a:avLst/>
              <a:gdLst>
                <a:gd name="T0" fmla="*/ 65 w 65"/>
                <a:gd name="T1" fmla="*/ 32 h 66"/>
                <a:gd name="T2" fmla="*/ 33 w 65"/>
                <a:gd name="T3" fmla="*/ 0 h 66"/>
                <a:gd name="T4" fmla="*/ 0 w 65"/>
                <a:gd name="T5" fmla="*/ 33 h 66"/>
                <a:gd name="T6" fmla="*/ 33 w 65"/>
                <a:gd name="T7" fmla="*/ 66 h 66"/>
                <a:gd name="T8" fmla="*/ 63 w 65"/>
                <a:gd name="T9" fmla="*/ 48 h 66"/>
                <a:gd name="T10" fmla="*/ 53 w 65"/>
                <a:gd name="T11" fmla="*/ 48 h 66"/>
                <a:gd name="T12" fmla="*/ 34 w 65"/>
                <a:gd name="T13" fmla="*/ 58 h 66"/>
                <a:gd name="T14" fmla="*/ 11 w 65"/>
                <a:gd name="T15" fmla="*/ 37 h 66"/>
                <a:gd name="T16" fmla="*/ 65 w 65"/>
                <a:gd name="T17" fmla="*/ 37 h 66"/>
                <a:gd name="T18" fmla="*/ 65 w 65"/>
                <a:gd name="T19" fmla="*/ 32 h 66"/>
                <a:gd name="T20" fmla="*/ 11 w 65"/>
                <a:gd name="T21" fmla="*/ 28 h 66"/>
                <a:gd name="T22" fmla="*/ 33 w 65"/>
                <a:gd name="T23" fmla="*/ 8 h 66"/>
                <a:gd name="T24" fmla="*/ 55 w 65"/>
                <a:gd name="T25" fmla="*/ 28 h 66"/>
                <a:gd name="T26" fmla="*/ 11 w 65"/>
                <a:gd name="T27" fmla="*/ 2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5" h="66">
                  <a:moveTo>
                    <a:pt x="65" y="32"/>
                  </a:moveTo>
                  <a:cubicBezTo>
                    <a:pt x="65" y="13"/>
                    <a:pt x="53" y="0"/>
                    <a:pt x="33" y="0"/>
                  </a:cubicBezTo>
                  <a:cubicBezTo>
                    <a:pt x="14" y="0"/>
                    <a:pt x="0" y="14"/>
                    <a:pt x="0" y="33"/>
                  </a:cubicBezTo>
                  <a:cubicBezTo>
                    <a:pt x="0" y="53"/>
                    <a:pt x="14" y="66"/>
                    <a:pt x="33" y="66"/>
                  </a:cubicBezTo>
                  <a:cubicBezTo>
                    <a:pt x="47" y="66"/>
                    <a:pt x="58" y="59"/>
                    <a:pt x="63" y="48"/>
                  </a:cubicBezTo>
                  <a:cubicBezTo>
                    <a:pt x="53" y="48"/>
                    <a:pt x="53" y="48"/>
                    <a:pt x="53" y="48"/>
                  </a:cubicBezTo>
                  <a:cubicBezTo>
                    <a:pt x="50" y="54"/>
                    <a:pt x="43" y="58"/>
                    <a:pt x="34" y="58"/>
                  </a:cubicBezTo>
                  <a:cubicBezTo>
                    <a:pt x="19" y="58"/>
                    <a:pt x="12" y="49"/>
                    <a:pt x="11" y="37"/>
                  </a:cubicBezTo>
                  <a:cubicBezTo>
                    <a:pt x="65" y="37"/>
                    <a:pt x="65" y="37"/>
                    <a:pt x="65" y="37"/>
                  </a:cubicBezTo>
                  <a:lnTo>
                    <a:pt x="65" y="32"/>
                  </a:lnTo>
                  <a:close/>
                  <a:moveTo>
                    <a:pt x="11" y="28"/>
                  </a:moveTo>
                  <a:cubicBezTo>
                    <a:pt x="12" y="17"/>
                    <a:pt x="20" y="8"/>
                    <a:pt x="33" y="8"/>
                  </a:cubicBezTo>
                  <a:cubicBezTo>
                    <a:pt x="47" y="8"/>
                    <a:pt x="54" y="18"/>
                    <a:pt x="55" y="28"/>
                  </a:cubicBezTo>
                  <a:lnTo>
                    <a:pt x="11" y="2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8" name="Freeform 9">
              <a:extLst>
                <a:ext uri="{FF2B5EF4-FFF2-40B4-BE49-F238E27FC236}">
                  <a16:creationId xmlns:a16="http://schemas.microsoft.com/office/drawing/2014/main" xmlns="" id="{6BD464F9-CB86-4782-98A8-138D13B22E79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3650" y="2952750"/>
              <a:ext cx="360363" cy="898525"/>
            </a:xfrm>
            <a:custGeom>
              <a:avLst/>
              <a:gdLst>
                <a:gd name="T0" fmla="*/ 20 w 32"/>
                <a:gd name="T1" fmla="*/ 62 h 79"/>
                <a:gd name="T2" fmla="*/ 20 w 32"/>
                <a:gd name="T3" fmla="*/ 24 h 79"/>
                <a:gd name="T4" fmla="*/ 32 w 32"/>
                <a:gd name="T5" fmla="*/ 24 h 79"/>
                <a:gd name="T6" fmla="*/ 32 w 32"/>
                <a:gd name="T7" fmla="*/ 16 h 79"/>
                <a:gd name="T8" fmla="*/ 20 w 32"/>
                <a:gd name="T9" fmla="*/ 16 h 79"/>
                <a:gd name="T10" fmla="*/ 20 w 32"/>
                <a:gd name="T11" fmla="*/ 0 h 79"/>
                <a:gd name="T12" fmla="*/ 9 w 32"/>
                <a:gd name="T13" fmla="*/ 0 h 79"/>
                <a:gd name="T14" fmla="*/ 9 w 32"/>
                <a:gd name="T15" fmla="*/ 16 h 79"/>
                <a:gd name="T16" fmla="*/ 0 w 32"/>
                <a:gd name="T17" fmla="*/ 16 h 79"/>
                <a:gd name="T18" fmla="*/ 0 w 32"/>
                <a:gd name="T19" fmla="*/ 24 h 79"/>
                <a:gd name="T20" fmla="*/ 9 w 32"/>
                <a:gd name="T21" fmla="*/ 24 h 79"/>
                <a:gd name="T22" fmla="*/ 9 w 32"/>
                <a:gd name="T23" fmla="*/ 63 h 79"/>
                <a:gd name="T24" fmla="*/ 26 w 32"/>
                <a:gd name="T25" fmla="*/ 79 h 79"/>
                <a:gd name="T26" fmla="*/ 32 w 32"/>
                <a:gd name="T27" fmla="*/ 79 h 79"/>
                <a:gd name="T28" fmla="*/ 32 w 32"/>
                <a:gd name="T29" fmla="*/ 70 h 79"/>
                <a:gd name="T30" fmla="*/ 27 w 32"/>
                <a:gd name="T31" fmla="*/ 71 h 79"/>
                <a:gd name="T32" fmla="*/ 20 w 32"/>
                <a:gd name="T33" fmla="*/ 62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2" h="79">
                  <a:moveTo>
                    <a:pt x="20" y="62"/>
                  </a:moveTo>
                  <a:cubicBezTo>
                    <a:pt x="20" y="24"/>
                    <a:pt x="20" y="24"/>
                    <a:pt x="20" y="24"/>
                  </a:cubicBezTo>
                  <a:cubicBezTo>
                    <a:pt x="32" y="24"/>
                    <a:pt x="32" y="24"/>
                    <a:pt x="32" y="24"/>
                  </a:cubicBezTo>
                  <a:cubicBezTo>
                    <a:pt x="32" y="16"/>
                    <a:pt x="32" y="16"/>
                    <a:pt x="32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16"/>
                    <a:pt x="9" y="16"/>
                    <a:pt x="9" y="16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63"/>
                    <a:pt x="9" y="63"/>
                    <a:pt x="9" y="63"/>
                  </a:cubicBezTo>
                  <a:cubicBezTo>
                    <a:pt x="9" y="74"/>
                    <a:pt x="14" y="79"/>
                    <a:pt x="26" y="79"/>
                  </a:cubicBezTo>
                  <a:cubicBezTo>
                    <a:pt x="28" y="79"/>
                    <a:pt x="31" y="79"/>
                    <a:pt x="32" y="79"/>
                  </a:cubicBezTo>
                  <a:cubicBezTo>
                    <a:pt x="32" y="70"/>
                    <a:pt x="32" y="70"/>
                    <a:pt x="32" y="70"/>
                  </a:cubicBezTo>
                  <a:cubicBezTo>
                    <a:pt x="30" y="71"/>
                    <a:pt x="29" y="71"/>
                    <a:pt x="27" y="71"/>
                  </a:cubicBezTo>
                  <a:cubicBezTo>
                    <a:pt x="22" y="71"/>
                    <a:pt x="20" y="69"/>
                    <a:pt x="20" y="62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9" name="Freeform 10">
              <a:extLst>
                <a:ext uri="{FF2B5EF4-FFF2-40B4-BE49-F238E27FC236}">
                  <a16:creationId xmlns:a16="http://schemas.microsoft.com/office/drawing/2014/main" xmlns="" id="{4A8BDCE4-6FCC-47A7-9CDE-4AC06B36DA13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5513" y="2816225"/>
              <a:ext cx="338138" cy="1035050"/>
            </a:xfrm>
            <a:custGeom>
              <a:avLst/>
              <a:gdLst>
                <a:gd name="T0" fmla="*/ 24 w 30"/>
                <a:gd name="T1" fmla="*/ 91 h 91"/>
                <a:gd name="T2" fmla="*/ 30 w 30"/>
                <a:gd name="T3" fmla="*/ 91 h 91"/>
                <a:gd name="T4" fmla="*/ 30 w 30"/>
                <a:gd name="T5" fmla="*/ 82 h 91"/>
                <a:gd name="T6" fmla="*/ 26 w 30"/>
                <a:gd name="T7" fmla="*/ 83 h 91"/>
                <a:gd name="T8" fmla="*/ 19 w 30"/>
                <a:gd name="T9" fmla="*/ 74 h 91"/>
                <a:gd name="T10" fmla="*/ 19 w 30"/>
                <a:gd name="T11" fmla="*/ 0 h 91"/>
                <a:gd name="T12" fmla="*/ 0 w 30"/>
                <a:gd name="T13" fmla="*/ 0 h 91"/>
                <a:gd name="T14" fmla="*/ 0 w 30"/>
                <a:gd name="T15" fmla="*/ 8 h 91"/>
                <a:gd name="T16" fmla="*/ 9 w 30"/>
                <a:gd name="T17" fmla="*/ 8 h 91"/>
                <a:gd name="T18" fmla="*/ 9 w 30"/>
                <a:gd name="T19" fmla="*/ 74 h 91"/>
                <a:gd name="T20" fmla="*/ 24 w 30"/>
                <a:gd name="T21" fmla="*/ 9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0" h="91">
                  <a:moveTo>
                    <a:pt x="24" y="91"/>
                  </a:moveTo>
                  <a:cubicBezTo>
                    <a:pt x="26" y="91"/>
                    <a:pt x="29" y="91"/>
                    <a:pt x="30" y="91"/>
                  </a:cubicBezTo>
                  <a:cubicBezTo>
                    <a:pt x="30" y="82"/>
                    <a:pt x="30" y="82"/>
                    <a:pt x="30" y="82"/>
                  </a:cubicBezTo>
                  <a:cubicBezTo>
                    <a:pt x="28" y="83"/>
                    <a:pt x="27" y="83"/>
                    <a:pt x="26" y="83"/>
                  </a:cubicBezTo>
                  <a:cubicBezTo>
                    <a:pt x="21" y="83"/>
                    <a:pt x="19" y="80"/>
                    <a:pt x="19" y="74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74"/>
                    <a:pt x="9" y="74"/>
                    <a:pt x="9" y="74"/>
                  </a:cubicBezTo>
                  <a:cubicBezTo>
                    <a:pt x="9" y="85"/>
                    <a:pt x="13" y="91"/>
                    <a:pt x="24" y="91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0" name="Freeform 11">
              <a:extLst>
                <a:ext uri="{FF2B5EF4-FFF2-40B4-BE49-F238E27FC236}">
                  <a16:creationId xmlns:a16="http://schemas.microsoft.com/office/drawing/2014/main" xmlns="" id="{331AB147-689A-43A6-B970-E8CB2BE02D7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3625" y="2781300"/>
              <a:ext cx="911225" cy="1092200"/>
            </a:xfrm>
            <a:custGeom>
              <a:avLst/>
              <a:gdLst>
                <a:gd name="T0" fmla="*/ 28 w 81"/>
                <a:gd name="T1" fmla="*/ 65 h 96"/>
                <a:gd name="T2" fmla="*/ 41 w 81"/>
                <a:gd name="T3" fmla="*/ 74 h 96"/>
                <a:gd name="T4" fmla="*/ 52 w 81"/>
                <a:gd name="T5" fmla="*/ 68 h 96"/>
                <a:gd name="T6" fmla="*/ 36 w 81"/>
                <a:gd name="T7" fmla="*/ 59 h 96"/>
                <a:gd name="T8" fmla="*/ 12 w 81"/>
                <a:gd name="T9" fmla="*/ 50 h 96"/>
                <a:gd name="T10" fmla="*/ 1 w 81"/>
                <a:gd name="T11" fmla="*/ 29 h 96"/>
                <a:gd name="T12" fmla="*/ 39 w 81"/>
                <a:gd name="T13" fmla="*/ 0 h 96"/>
                <a:gd name="T14" fmla="*/ 78 w 81"/>
                <a:gd name="T15" fmla="*/ 29 h 96"/>
                <a:gd name="T16" fmla="*/ 51 w 81"/>
                <a:gd name="T17" fmla="*/ 29 h 96"/>
                <a:gd name="T18" fmla="*/ 39 w 81"/>
                <a:gd name="T19" fmla="*/ 21 h 96"/>
                <a:gd name="T20" fmla="*/ 30 w 81"/>
                <a:gd name="T21" fmla="*/ 27 h 96"/>
                <a:gd name="T22" fmla="*/ 43 w 81"/>
                <a:gd name="T23" fmla="*/ 35 h 96"/>
                <a:gd name="T24" fmla="*/ 69 w 81"/>
                <a:gd name="T25" fmla="*/ 43 h 96"/>
                <a:gd name="T26" fmla="*/ 81 w 81"/>
                <a:gd name="T27" fmla="*/ 65 h 96"/>
                <a:gd name="T28" fmla="*/ 40 w 81"/>
                <a:gd name="T29" fmla="*/ 96 h 96"/>
                <a:gd name="T30" fmla="*/ 0 w 81"/>
                <a:gd name="T31" fmla="*/ 65 h 96"/>
                <a:gd name="T32" fmla="*/ 28 w 81"/>
                <a:gd name="T33" fmla="*/ 65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1" h="96">
                  <a:moveTo>
                    <a:pt x="28" y="65"/>
                  </a:moveTo>
                  <a:cubicBezTo>
                    <a:pt x="29" y="72"/>
                    <a:pt x="33" y="74"/>
                    <a:pt x="41" y="74"/>
                  </a:cubicBezTo>
                  <a:cubicBezTo>
                    <a:pt x="48" y="74"/>
                    <a:pt x="52" y="72"/>
                    <a:pt x="52" y="68"/>
                  </a:cubicBezTo>
                  <a:cubicBezTo>
                    <a:pt x="52" y="62"/>
                    <a:pt x="47" y="62"/>
                    <a:pt x="36" y="59"/>
                  </a:cubicBezTo>
                  <a:cubicBezTo>
                    <a:pt x="24" y="55"/>
                    <a:pt x="15" y="53"/>
                    <a:pt x="12" y="50"/>
                  </a:cubicBezTo>
                  <a:cubicBezTo>
                    <a:pt x="5" y="45"/>
                    <a:pt x="1" y="38"/>
                    <a:pt x="1" y="29"/>
                  </a:cubicBezTo>
                  <a:cubicBezTo>
                    <a:pt x="1" y="11"/>
                    <a:pt x="15" y="0"/>
                    <a:pt x="39" y="0"/>
                  </a:cubicBezTo>
                  <a:cubicBezTo>
                    <a:pt x="63" y="0"/>
                    <a:pt x="77" y="10"/>
                    <a:pt x="78" y="29"/>
                  </a:cubicBezTo>
                  <a:cubicBezTo>
                    <a:pt x="51" y="29"/>
                    <a:pt x="51" y="29"/>
                    <a:pt x="51" y="29"/>
                  </a:cubicBezTo>
                  <a:cubicBezTo>
                    <a:pt x="50" y="23"/>
                    <a:pt x="46" y="21"/>
                    <a:pt x="39" y="21"/>
                  </a:cubicBezTo>
                  <a:cubicBezTo>
                    <a:pt x="33" y="21"/>
                    <a:pt x="30" y="23"/>
                    <a:pt x="30" y="27"/>
                  </a:cubicBezTo>
                  <a:cubicBezTo>
                    <a:pt x="30" y="32"/>
                    <a:pt x="34" y="33"/>
                    <a:pt x="43" y="35"/>
                  </a:cubicBezTo>
                  <a:cubicBezTo>
                    <a:pt x="54" y="38"/>
                    <a:pt x="63" y="40"/>
                    <a:pt x="69" y="43"/>
                  </a:cubicBezTo>
                  <a:cubicBezTo>
                    <a:pt x="77" y="49"/>
                    <a:pt x="81" y="55"/>
                    <a:pt x="81" y="65"/>
                  </a:cubicBezTo>
                  <a:cubicBezTo>
                    <a:pt x="81" y="84"/>
                    <a:pt x="66" y="96"/>
                    <a:pt x="40" y="96"/>
                  </a:cubicBezTo>
                  <a:cubicBezTo>
                    <a:pt x="16" y="96"/>
                    <a:pt x="1" y="84"/>
                    <a:pt x="0" y="65"/>
                  </a:cubicBezTo>
                  <a:lnTo>
                    <a:pt x="28" y="65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1" name="Freeform 12">
              <a:extLst>
                <a:ext uri="{FF2B5EF4-FFF2-40B4-BE49-F238E27FC236}">
                  <a16:creationId xmlns:a16="http://schemas.microsoft.com/office/drawing/2014/main" xmlns="" id="{AA8CC35E-627A-410D-9CC1-5DFD27072BFF}"/>
                </a:ext>
              </a:extLst>
            </p:cNvPr>
            <p:cNvSpPr>
              <a:spLocks/>
            </p:cNvSpPr>
            <p:nvPr/>
          </p:nvSpPr>
          <p:spPr bwMode="auto">
            <a:xfrm>
              <a:off x="1698625" y="2781300"/>
              <a:ext cx="1014413" cy="1092200"/>
            </a:xfrm>
            <a:custGeom>
              <a:avLst/>
              <a:gdLst>
                <a:gd name="T0" fmla="*/ 90 w 90"/>
                <a:gd name="T1" fmla="*/ 58 h 96"/>
                <a:gd name="T2" fmla="*/ 46 w 90"/>
                <a:gd name="T3" fmla="*/ 96 h 96"/>
                <a:gd name="T4" fmla="*/ 0 w 90"/>
                <a:gd name="T5" fmla="*/ 48 h 96"/>
                <a:gd name="T6" fmla="*/ 46 w 90"/>
                <a:gd name="T7" fmla="*/ 0 h 96"/>
                <a:gd name="T8" fmla="*/ 89 w 90"/>
                <a:gd name="T9" fmla="*/ 37 h 96"/>
                <a:gd name="T10" fmla="*/ 62 w 90"/>
                <a:gd name="T11" fmla="*/ 37 h 96"/>
                <a:gd name="T12" fmla="*/ 46 w 90"/>
                <a:gd name="T13" fmla="*/ 23 h 96"/>
                <a:gd name="T14" fmla="*/ 29 w 90"/>
                <a:gd name="T15" fmla="*/ 48 h 96"/>
                <a:gd name="T16" fmla="*/ 47 w 90"/>
                <a:gd name="T17" fmla="*/ 73 h 96"/>
                <a:gd name="T18" fmla="*/ 62 w 90"/>
                <a:gd name="T19" fmla="*/ 58 h 96"/>
                <a:gd name="T20" fmla="*/ 90 w 90"/>
                <a:gd name="T21" fmla="*/ 58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0" h="96">
                  <a:moveTo>
                    <a:pt x="90" y="58"/>
                  </a:moveTo>
                  <a:cubicBezTo>
                    <a:pt x="88" y="82"/>
                    <a:pt x="72" y="96"/>
                    <a:pt x="46" y="96"/>
                  </a:cubicBezTo>
                  <a:cubicBezTo>
                    <a:pt x="17" y="96"/>
                    <a:pt x="0" y="78"/>
                    <a:pt x="0" y="48"/>
                  </a:cubicBezTo>
                  <a:cubicBezTo>
                    <a:pt x="0" y="18"/>
                    <a:pt x="17" y="0"/>
                    <a:pt x="46" y="0"/>
                  </a:cubicBezTo>
                  <a:cubicBezTo>
                    <a:pt x="72" y="0"/>
                    <a:pt x="88" y="13"/>
                    <a:pt x="89" y="37"/>
                  </a:cubicBezTo>
                  <a:cubicBezTo>
                    <a:pt x="62" y="37"/>
                    <a:pt x="62" y="37"/>
                    <a:pt x="62" y="37"/>
                  </a:cubicBezTo>
                  <a:cubicBezTo>
                    <a:pt x="61" y="28"/>
                    <a:pt x="55" y="23"/>
                    <a:pt x="46" y="23"/>
                  </a:cubicBezTo>
                  <a:cubicBezTo>
                    <a:pt x="35" y="23"/>
                    <a:pt x="29" y="31"/>
                    <a:pt x="29" y="48"/>
                  </a:cubicBezTo>
                  <a:cubicBezTo>
                    <a:pt x="29" y="65"/>
                    <a:pt x="35" y="73"/>
                    <a:pt x="47" y="73"/>
                  </a:cubicBezTo>
                  <a:cubicBezTo>
                    <a:pt x="56" y="73"/>
                    <a:pt x="61" y="68"/>
                    <a:pt x="62" y="58"/>
                  </a:cubicBezTo>
                  <a:lnTo>
                    <a:pt x="90" y="58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2" name="Freeform 13">
              <a:extLst>
                <a:ext uri="{FF2B5EF4-FFF2-40B4-BE49-F238E27FC236}">
                  <a16:creationId xmlns:a16="http://schemas.microsoft.com/office/drawing/2014/main" xmlns="" id="{A6104163-5896-46B6-AC7E-D2E4D25EC2F7}"/>
                </a:ext>
              </a:extLst>
            </p:cNvPr>
            <p:cNvSpPr>
              <a:spLocks/>
            </p:cNvSpPr>
            <p:nvPr/>
          </p:nvSpPr>
          <p:spPr bwMode="auto">
            <a:xfrm>
              <a:off x="2644774" y="2816225"/>
              <a:ext cx="1014412" cy="1023939"/>
            </a:xfrm>
            <a:custGeom>
              <a:avLst/>
              <a:gdLst>
                <a:gd name="T0" fmla="*/ 0 w 639"/>
                <a:gd name="T1" fmla="*/ 0 h 645"/>
                <a:gd name="T2" fmla="*/ 206 w 639"/>
                <a:gd name="T3" fmla="*/ 0 h 645"/>
                <a:gd name="T4" fmla="*/ 320 w 639"/>
                <a:gd name="T5" fmla="*/ 415 h 645"/>
                <a:gd name="T6" fmla="*/ 433 w 639"/>
                <a:gd name="T7" fmla="*/ 0 h 645"/>
                <a:gd name="T8" fmla="*/ 639 w 639"/>
                <a:gd name="T9" fmla="*/ 0 h 645"/>
                <a:gd name="T10" fmla="*/ 419 w 639"/>
                <a:gd name="T11" fmla="*/ 645 h 645"/>
                <a:gd name="T12" fmla="*/ 213 w 639"/>
                <a:gd name="T13" fmla="*/ 645 h 645"/>
                <a:gd name="T14" fmla="*/ 0 w 639"/>
                <a:gd name="T15" fmla="*/ 0 h 6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39" h="645">
                  <a:moveTo>
                    <a:pt x="0" y="0"/>
                  </a:moveTo>
                  <a:lnTo>
                    <a:pt x="206" y="0"/>
                  </a:lnTo>
                  <a:lnTo>
                    <a:pt x="320" y="415"/>
                  </a:lnTo>
                  <a:lnTo>
                    <a:pt x="433" y="0"/>
                  </a:lnTo>
                  <a:lnTo>
                    <a:pt x="639" y="0"/>
                  </a:lnTo>
                  <a:lnTo>
                    <a:pt x="419" y="645"/>
                  </a:lnTo>
                  <a:lnTo>
                    <a:pt x="213" y="64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3" name="Freeform 14">
              <a:extLst>
                <a:ext uri="{FF2B5EF4-FFF2-40B4-BE49-F238E27FC236}">
                  <a16:creationId xmlns:a16="http://schemas.microsoft.com/office/drawing/2014/main" xmlns="" id="{481FE757-1FA8-48AB-BF72-DF393E4A3A65}"/>
                </a:ext>
              </a:extLst>
            </p:cNvPr>
            <p:cNvSpPr>
              <a:spLocks/>
            </p:cNvSpPr>
            <p:nvPr/>
          </p:nvSpPr>
          <p:spPr bwMode="auto">
            <a:xfrm>
              <a:off x="279400" y="2781300"/>
              <a:ext cx="1295400" cy="1092200"/>
            </a:xfrm>
            <a:custGeom>
              <a:avLst/>
              <a:gdLst>
                <a:gd name="T0" fmla="*/ 4 w 115"/>
                <a:gd name="T1" fmla="*/ 42 h 96"/>
                <a:gd name="T2" fmla="*/ 0 w 115"/>
                <a:gd name="T3" fmla="*/ 33 h 96"/>
                <a:gd name="T4" fmla="*/ 4 w 115"/>
                <a:gd name="T5" fmla="*/ 23 h 96"/>
                <a:gd name="T6" fmla="*/ 22 w 115"/>
                <a:gd name="T7" fmla="*/ 4 h 96"/>
                <a:gd name="T8" fmla="*/ 32 w 115"/>
                <a:gd name="T9" fmla="*/ 0 h 96"/>
                <a:gd name="T10" fmla="*/ 42 w 115"/>
                <a:gd name="T11" fmla="*/ 4 h 96"/>
                <a:gd name="T12" fmla="*/ 58 w 115"/>
                <a:gd name="T13" fmla="*/ 20 h 96"/>
                <a:gd name="T14" fmla="*/ 73 w 115"/>
                <a:gd name="T15" fmla="*/ 4 h 96"/>
                <a:gd name="T16" fmla="*/ 83 w 115"/>
                <a:gd name="T17" fmla="*/ 0 h 96"/>
                <a:gd name="T18" fmla="*/ 93 w 115"/>
                <a:gd name="T19" fmla="*/ 4 h 96"/>
                <a:gd name="T20" fmla="*/ 111 w 115"/>
                <a:gd name="T21" fmla="*/ 23 h 96"/>
                <a:gd name="T22" fmla="*/ 115 w 115"/>
                <a:gd name="T23" fmla="*/ 33 h 96"/>
                <a:gd name="T24" fmla="*/ 111 w 115"/>
                <a:gd name="T25" fmla="*/ 42 h 96"/>
                <a:gd name="T26" fmla="*/ 58 w 115"/>
                <a:gd name="T27" fmla="*/ 96 h 96"/>
                <a:gd name="T28" fmla="*/ 57 w 115"/>
                <a:gd name="T29" fmla="*/ 96 h 96"/>
                <a:gd name="T30" fmla="*/ 4 w 115"/>
                <a:gd name="T31" fmla="*/ 4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5" h="96">
                  <a:moveTo>
                    <a:pt x="4" y="42"/>
                  </a:moveTo>
                  <a:cubicBezTo>
                    <a:pt x="1" y="40"/>
                    <a:pt x="0" y="36"/>
                    <a:pt x="0" y="33"/>
                  </a:cubicBezTo>
                  <a:cubicBezTo>
                    <a:pt x="0" y="29"/>
                    <a:pt x="1" y="25"/>
                    <a:pt x="4" y="23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25" y="1"/>
                    <a:pt x="29" y="0"/>
                    <a:pt x="32" y="0"/>
                  </a:cubicBezTo>
                  <a:cubicBezTo>
                    <a:pt x="36" y="0"/>
                    <a:pt x="39" y="1"/>
                    <a:pt x="42" y="4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73" y="4"/>
                    <a:pt x="73" y="4"/>
                    <a:pt x="73" y="4"/>
                  </a:cubicBezTo>
                  <a:cubicBezTo>
                    <a:pt x="76" y="1"/>
                    <a:pt x="79" y="0"/>
                    <a:pt x="83" y="0"/>
                  </a:cubicBezTo>
                  <a:cubicBezTo>
                    <a:pt x="87" y="0"/>
                    <a:pt x="90" y="1"/>
                    <a:pt x="93" y="4"/>
                  </a:cubicBezTo>
                  <a:cubicBezTo>
                    <a:pt x="111" y="23"/>
                    <a:pt x="111" y="23"/>
                    <a:pt x="111" y="23"/>
                  </a:cubicBezTo>
                  <a:cubicBezTo>
                    <a:pt x="114" y="25"/>
                    <a:pt x="115" y="29"/>
                    <a:pt x="115" y="33"/>
                  </a:cubicBezTo>
                  <a:cubicBezTo>
                    <a:pt x="115" y="36"/>
                    <a:pt x="114" y="40"/>
                    <a:pt x="111" y="42"/>
                  </a:cubicBezTo>
                  <a:cubicBezTo>
                    <a:pt x="58" y="96"/>
                    <a:pt x="58" y="96"/>
                    <a:pt x="58" y="96"/>
                  </a:cubicBezTo>
                  <a:cubicBezTo>
                    <a:pt x="57" y="96"/>
                    <a:pt x="57" y="96"/>
                    <a:pt x="57" y="96"/>
                  </a:cubicBezTo>
                  <a:lnTo>
                    <a:pt x="4" y="42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44" name="Group 43"/>
          <p:cNvGrpSpPr/>
          <p:nvPr userDrawn="1"/>
        </p:nvGrpSpPr>
        <p:grpSpPr>
          <a:xfrm>
            <a:off x="504316" y="5402513"/>
            <a:ext cx="1930419" cy="1067172"/>
            <a:chOff x="7526204" y="2289887"/>
            <a:chExt cx="3108960" cy="1718692"/>
          </a:xfrm>
        </p:grpSpPr>
        <p:grpSp>
          <p:nvGrpSpPr>
            <p:cNvPr id="45" name="Group 44"/>
            <p:cNvGrpSpPr>
              <a:grpSpLocks noChangeAspect="1"/>
            </p:cNvGrpSpPr>
            <p:nvPr/>
          </p:nvGrpSpPr>
          <p:grpSpPr>
            <a:xfrm>
              <a:off x="8070916" y="2865025"/>
              <a:ext cx="2148840" cy="827025"/>
              <a:chOff x="-2522495" y="1678245"/>
              <a:chExt cx="2126771" cy="818532"/>
            </a:xfrm>
          </p:grpSpPr>
          <p:sp>
            <p:nvSpPr>
              <p:cNvPr id="47" name="TextBox 46"/>
              <p:cNvSpPr txBox="1">
                <a:spLocks/>
              </p:cNvSpPr>
              <p:nvPr/>
            </p:nvSpPr>
            <p:spPr>
              <a:xfrm>
                <a:off x="-2130523" y="1678245"/>
                <a:ext cx="486642" cy="382152"/>
              </a:xfrm>
              <a:custGeom>
                <a:avLst/>
                <a:gdLst/>
                <a:ahLst/>
                <a:cxnLst/>
                <a:rect l="l" t="t" r="r" b="b"/>
                <a:pathLst>
                  <a:path w="486642" h="382152">
                    <a:moveTo>
                      <a:pt x="150943" y="0"/>
                    </a:moveTo>
                    <a:cubicBezTo>
                      <a:pt x="191582" y="0"/>
                      <a:pt x="224490" y="12368"/>
                      <a:pt x="232082" y="39810"/>
                    </a:cubicBezTo>
                    <a:lnTo>
                      <a:pt x="232262" y="41192"/>
                    </a:lnTo>
                    <a:lnTo>
                      <a:pt x="244394" y="27828"/>
                    </a:lnTo>
                    <a:cubicBezTo>
                      <a:pt x="265912" y="9086"/>
                      <a:pt x="296328" y="0"/>
                      <a:pt x="331918" y="0"/>
                    </a:cubicBezTo>
                    <a:cubicBezTo>
                      <a:pt x="355140" y="0"/>
                      <a:pt x="375838" y="4038"/>
                      <a:pt x="390730" y="12620"/>
                    </a:cubicBezTo>
                    <a:lnTo>
                      <a:pt x="399550" y="19037"/>
                    </a:lnTo>
                    <a:lnTo>
                      <a:pt x="415123" y="9213"/>
                    </a:lnTo>
                    <a:cubicBezTo>
                      <a:pt x="421204" y="6846"/>
                      <a:pt x="427956" y="5553"/>
                      <a:pt x="435150" y="5553"/>
                    </a:cubicBezTo>
                    <a:cubicBezTo>
                      <a:pt x="464430" y="5553"/>
                      <a:pt x="486642" y="26250"/>
                      <a:pt x="486642" y="53511"/>
                    </a:cubicBezTo>
                    <a:cubicBezTo>
                      <a:pt x="486642" y="80772"/>
                      <a:pt x="464430" y="101974"/>
                      <a:pt x="435150" y="101974"/>
                    </a:cubicBezTo>
                    <a:cubicBezTo>
                      <a:pt x="420763" y="101974"/>
                      <a:pt x="408142" y="96674"/>
                      <a:pt x="399118" y="87965"/>
                    </a:cubicBezTo>
                    <a:lnTo>
                      <a:pt x="397141" y="85099"/>
                    </a:lnTo>
                    <a:lnTo>
                      <a:pt x="387023" y="90979"/>
                    </a:lnTo>
                    <a:cubicBezTo>
                      <a:pt x="381675" y="92887"/>
                      <a:pt x="375838" y="93897"/>
                      <a:pt x="369780" y="93897"/>
                    </a:cubicBezTo>
                    <a:cubicBezTo>
                      <a:pt x="355140" y="93897"/>
                      <a:pt x="342015" y="89354"/>
                      <a:pt x="335452" y="81781"/>
                    </a:cubicBezTo>
                    <a:cubicBezTo>
                      <a:pt x="350092" y="78247"/>
                      <a:pt x="359179" y="66132"/>
                      <a:pt x="359179" y="42910"/>
                    </a:cubicBezTo>
                    <a:cubicBezTo>
                      <a:pt x="359179" y="22717"/>
                      <a:pt x="350597" y="8077"/>
                      <a:pt x="331918" y="8077"/>
                    </a:cubicBezTo>
                    <a:cubicBezTo>
                      <a:pt x="308696" y="8077"/>
                      <a:pt x="300619" y="29784"/>
                      <a:pt x="300619" y="58054"/>
                    </a:cubicBezTo>
                    <a:lnTo>
                      <a:pt x="300619" y="132264"/>
                    </a:lnTo>
                    <a:lnTo>
                      <a:pt x="363217" y="132264"/>
                    </a:lnTo>
                    <a:lnTo>
                      <a:pt x="360693" y="144884"/>
                    </a:lnTo>
                    <a:lnTo>
                      <a:pt x="300619" y="144884"/>
                    </a:lnTo>
                    <a:lnTo>
                      <a:pt x="300619" y="327126"/>
                    </a:lnTo>
                    <a:cubicBezTo>
                      <a:pt x="300619" y="360445"/>
                      <a:pt x="312230" y="369027"/>
                      <a:pt x="339490" y="381142"/>
                    </a:cubicBezTo>
                    <a:lnTo>
                      <a:pt x="339490" y="382152"/>
                    </a:lnTo>
                    <a:lnTo>
                      <a:pt x="186529" y="382152"/>
                    </a:lnTo>
                    <a:lnTo>
                      <a:pt x="186529" y="381142"/>
                    </a:lnTo>
                    <a:cubicBezTo>
                      <a:pt x="208741" y="367007"/>
                      <a:pt x="210255" y="360445"/>
                      <a:pt x="210255" y="327126"/>
                    </a:cubicBezTo>
                    <a:lnTo>
                      <a:pt x="210255" y="144884"/>
                    </a:lnTo>
                    <a:lnTo>
                      <a:pt x="180976" y="144884"/>
                    </a:lnTo>
                    <a:lnTo>
                      <a:pt x="180976" y="139331"/>
                    </a:lnTo>
                    <a:lnTo>
                      <a:pt x="210255" y="128225"/>
                    </a:lnTo>
                    <a:lnTo>
                      <a:pt x="210255" y="113585"/>
                    </a:lnTo>
                    <a:lnTo>
                      <a:pt x="212504" y="87227"/>
                    </a:lnTo>
                    <a:lnTo>
                      <a:pt x="206048" y="90979"/>
                    </a:lnTo>
                    <a:cubicBezTo>
                      <a:pt x="200700" y="92887"/>
                      <a:pt x="194863" y="93897"/>
                      <a:pt x="188805" y="93897"/>
                    </a:cubicBezTo>
                    <a:cubicBezTo>
                      <a:pt x="174165" y="93897"/>
                      <a:pt x="161040" y="89354"/>
                      <a:pt x="154477" y="81781"/>
                    </a:cubicBezTo>
                    <a:cubicBezTo>
                      <a:pt x="169117" y="78247"/>
                      <a:pt x="178204" y="66132"/>
                      <a:pt x="178204" y="42910"/>
                    </a:cubicBezTo>
                    <a:cubicBezTo>
                      <a:pt x="178204" y="22717"/>
                      <a:pt x="169622" y="8077"/>
                      <a:pt x="150943" y="8077"/>
                    </a:cubicBezTo>
                    <a:cubicBezTo>
                      <a:pt x="127721" y="8077"/>
                      <a:pt x="119644" y="29784"/>
                      <a:pt x="119644" y="58054"/>
                    </a:cubicBezTo>
                    <a:lnTo>
                      <a:pt x="119644" y="132264"/>
                    </a:lnTo>
                    <a:lnTo>
                      <a:pt x="182242" y="132264"/>
                    </a:lnTo>
                    <a:lnTo>
                      <a:pt x="179718" y="144884"/>
                    </a:lnTo>
                    <a:lnTo>
                      <a:pt x="119644" y="144884"/>
                    </a:lnTo>
                    <a:lnTo>
                      <a:pt x="119644" y="327126"/>
                    </a:lnTo>
                    <a:cubicBezTo>
                      <a:pt x="119644" y="360445"/>
                      <a:pt x="131255" y="369027"/>
                      <a:pt x="158516" y="381142"/>
                    </a:cubicBezTo>
                    <a:lnTo>
                      <a:pt x="158516" y="382152"/>
                    </a:lnTo>
                    <a:lnTo>
                      <a:pt x="5554" y="382152"/>
                    </a:lnTo>
                    <a:lnTo>
                      <a:pt x="5554" y="381142"/>
                    </a:lnTo>
                    <a:cubicBezTo>
                      <a:pt x="27766" y="367007"/>
                      <a:pt x="29280" y="360445"/>
                      <a:pt x="29280" y="327126"/>
                    </a:cubicBezTo>
                    <a:lnTo>
                      <a:pt x="29280" y="144884"/>
                    </a:lnTo>
                    <a:lnTo>
                      <a:pt x="0" y="144884"/>
                    </a:lnTo>
                    <a:lnTo>
                      <a:pt x="0" y="139331"/>
                    </a:lnTo>
                    <a:lnTo>
                      <a:pt x="29280" y="128225"/>
                    </a:lnTo>
                    <a:lnTo>
                      <a:pt x="29280" y="113585"/>
                    </a:lnTo>
                    <a:cubicBezTo>
                      <a:pt x="29280" y="36347"/>
                      <a:pt x="79763" y="0"/>
                      <a:pt x="150943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8" name="TextBox 47"/>
              <p:cNvSpPr txBox="1">
                <a:spLocks/>
              </p:cNvSpPr>
              <p:nvPr/>
            </p:nvSpPr>
            <p:spPr>
              <a:xfrm>
                <a:off x="-2522495" y="1701971"/>
                <a:ext cx="362969" cy="363474"/>
              </a:xfrm>
              <a:custGeom>
                <a:avLst/>
                <a:gdLst/>
                <a:ahLst/>
                <a:cxnLst/>
                <a:rect l="l" t="t" r="r" b="b"/>
                <a:pathLst>
                  <a:path w="362969" h="363474">
                    <a:moveTo>
                      <a:pt x="181737" y="0"/>
                    </a:moveTo>
                    <a:cubicBezTo>
                      <a:pt x="285731" y="0"/>
                      <a:pt x="362969" y="75724"/>
                      <a:pt x="362969" y="181737"/>
                    </a:cubicBezTo>
                    <a:cubicBezTo>
                      <a:pt x="362969" y="287751"/>
                      <a:pt x="285731" y="363474"/>
                      <a:pt x="181737" y="363474"/>
                    </a:cubicBezTo>
                    <a:cubicBezTo>
                      <a:pt x="77238" y="363474"/>
                      <a:pt x="0" y="287751"/>
                      <a:pt x="0" y="181737"/>
                    </a:cubicBezTo>
                    <a:cubicBezTo>
                      <a:pt x="0" y="75724"/>
                      <a:pt x="77238" y="0"/>
                      <a:pt x="181737" y="0"/>
                    </a:cubicBezTo>
                    <a:close/>
                    <a:moveTo>
                      <a:pt x="181737" y="10097"/>
                    </a:moveTo>
                    <a:cubicBezTo>
                      <a:pt x="123682" y="10097"/>
                      <a:pt x="103994" y="70676"/>
                      <a:pt x="103994" y="181737"/>
                    </a:cubicBezTo>
                    <a:cubicBezTo>
                      <a:pt x="103994" y="292799"/>
                      <a:pt x="123682" y="353378"/>
                      <a:pt x="181737" y="353378"/>
                    </a:cubicBezTo>
                    <a:cubicBezTo>
                      <a:pt x="239287" y="353378"/>
                      <a:pt x="258975" y="292799"/>
                      <a:pt x="258975" y="181737"/>
                    </a:cubicBezTo>
                    <a:cubicBezTo>
                      <a:pt x="258975" y="70676"/>
                      <a:pt x="239287" y="10097"/>
                      <a:pt x="181737" y="10097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9" name="TextBox 48"/>
              <p:cNvSpPr txBox="1">
                <a:spLocks/>
              </p:cNvSpPr>
              <p:nvPr/>
            </p:nvSpPr>
            <p:spPr>
              <a:xfrm>
                <a:off x="-1602104" y="1805461"/>
                <a:ext cx="245345" cy="259984"/>
              </a:xfrm>
              <a:custGeom>
                <a:avLst/>
                <a:gdLst/>
                <a:ahLst/>
                <a:cxnLst/>
                <a:rect l="l" t="t" r="r" b="b"/>
                <a:pathLst>
                  <a:path w="245345" h="259984">
                    <a:moveTo>
                      <a:pt x="144885" y="0"/>
                    </a:moveTo>
                    <a:cubicBezTo>
                      <a:pt x="199406" y="0"/>
                      <a:pt x="240297" y="23726"/>
                      <a:pt x="240297" y="65122"/>
                    </a:cubicBezTo>
                    <a:cubicBezTo>
                      <a:pt x="240297" y="95411"/>
                      <a:pt x="217075" y="111061"/>
                      <a:pt x="192843" y="111061"/>
                    </a:cubicBezTo>
                    <a:cubicBezTo>
                      <a:pt x="166087" y="111061"/>
                      <a:pt x="150438" y="96421"/>
                      <a:pt x="148923" y="81781"/>
                    </a:cubicBezTo>
                    <a:cubicBezTo>
                      <a:pt x="151952" y="82791"/>
                      <a:pt x="155486" y="83296"/>
                      <a:pt x="158010" y="83296"/>
                    </a:cubicBezTo>
                    <a:cubicBezTo>
                      <a:pt x="176689" y="83296"/>
                      <a:pt x="184261" y="67646"/>
                      <a:pt x="184261" y="48463"/>
                    </a:cubicBezTo>
                    <a:cubicBezTo>
                      <a:pt x="184261" y="24231"/>
                      <a:pt x="171136" y="8582"/>
                      <a:pt x="145894" y="8582"/>
                    </a:cubicBezTo>
                    <a:cubicBezTo>
                      <a:pt x="110557" y="8582"/>
                      <a:pt x="93897" y="54016"/>
                      <a:pt x="93897" y="112575"/>
                    </a:cubicBezTo>
                    <a:cubicBezTo>
                      <a:pt x="93897" y="181737"/>
                      <a:pt x="124692" y="218589"/>
                      <a:pt x="171640" y="218589"/>
                    </a:cubicBezTo>
                    <a:cubicBezTo>
                      <a:pt x="200415" y="218589"/>
                      <a:pt x="226666" y="204958"/>
                      <a:pt x="242316" y="173659"/>
                    </a:cubicBezTo>
                    <a:lnTo>
                      <a:pt x="245345" y="175174"/>
                    </a:lnTo>
                    <a:cubicBezTo>
                      <a:pt x="231210" y="229190"/>
                      <a:pt x="185775" y="259984"/>
                      <a:pt x="129740" y="259984"/>
                    </a:cubicBezTo>
                    <a:cubicBezTo>
                      <a:pt x="60074" y="259984"/>
                      <a:pt x="0" y="213036"/>
                      <a:pt x="0" y="134788"/>
                    </a:cubicBezTo>
                    <a:cubicBezTo>
                      <a:pt x="0" y="49977"/>
                      <a:pt x="63608" y="0"/>
                      <a:pt x="144885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0" name="TextBox 49"/>
              <p:cNvSpPr txBox="1">
                <a:spLocks/>
              </p:cNvSpPr>
              <p:nvPr/>
            </p:nvSpPr>
            <p:spPr>
              <a:xfrm>
                <a:off x="-1335404" y="1805461"/>
                <a:ext cx="251908" cy="259984"/>
              </a:xfrm>
              <a:custGeom>
                <a:avLst/>
                <a:gdLst/>
                <a:ahLst/>
                <a:cxnLst/>
                <a:rect l="l" t="t" r="r" b="b"/>
                <a:pathLst>
                  <a:path w="251908" h="259984">
                    <a:moveTo>
                      <a:pt x="132264" y="0"/>
                    </a:moveTo>
                    <a:cubicBezTo>
                      <a:pt x="213541" y="0"/>
                      <a:pt x="251908" y="51996"/>
                      <a:pt x="251908" y="118633"/>
                    </a:cubicBezTo>
                    <a:lnTo>
                      <a:pt x="91373" y="118633"/>
                    </a:lnTo>
                    <a:cubicBezTo>
                      <a:pt x="91373" y="181232"/>
                      <a:pt x="124187" y="218589"/>
                      <a:pt x="172650" y="218589"/>
                    </a:cubicBezTo>
                    <a:cubicBezTo>
                      <a:pt x="203444" y="218589"/>
                      <a:pt x="230200" y="204958"/>
                      <a:pt x="245850" y="173659"/>
                    </a:cubicBezTo>
                    <a:lnTo>
                      <a:pt x="249383" y="175174"/>
                    </a:lnTo>
                    <a:cubicBezTo>
                      <a:pt x="234744" y="229190"/>
                      <a:pt x="189309" y="259984"/>
                      <a:pt x="131759" y="259984"/>
                    </a:cubicBezTo>
                    <a:cubicBezTo>
                      <a:pt x="59569" y="259984"/>
                      <a:pt x="0" y="212531"/>
                      <a:pt x="0" y="130244"/>
                    </a:cubicBezTo>
                    <a:cubicBezTo>
                      <a:pt x="0" y="50987"/>
                      <a:pt x="60074" y="0"/>
                      <a:pt x="132264" y="0"/>
                    </a:cubicBezTo>
                    <a:close/>
                    <a:moveTo>
                      <a:pt x="132264" y="8582"/>
                    </a:moveTo>
                    <a:cubicBezTo>
                      <a:pt x="106013" y="8582"/>
                      <a:pt x="92888" y="48463"/>
                      <a:pt x="91878" y="108032"/>
                    </a:cubicBezTo>
                    <a:lnTo>
                      <a:pt x="165078" y="108032"/>
                    </a:lnTo>
                    <a:cubicBezTo>
                      <a:pt x="165078" y="51492"/>
                      <a:pt x="161039" y="8582"/>
                      <a:pt x="132264" y="858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1" name="TextBox 50"/>
              <p:cNvSpPr txBox="1">
                <a:spLocks/>
              </p:cNvSpPr>
              <p:nvPr/>
            </p:nvSpPr>
            <p:spPr>
              <a:xfrm>
                <a:off x="-1766048" y="1810509"/>
                <a:ext cx="140846" cy="249888"/>
              </a:xfrm>
              <a:custGeom>
                <a:avLst/>
                <a:gdLst/>
                <a:ahLst/>
                <a:cxnLst/>
                <a:rect l="l" t="t" r="r" b="b"/>
                <a:pathLst>
                  <a:path w="140846" h="249888">
                    <a:moveTo>
                      <a:pt x="0" y="0"/>
                    </a:moveTo>
                    <a:lnTo>
                      <a:pt x="117119" y="0"/>
                    </a:lnTo>
                    <a:lnTo>
                      <a:pt x="117119" y="194862"/>
                    </a:lnTo>
                    <a:cubicBezTo>
                      <a:pt x="117119" y="228181"/>
                      <a:pt x="118633" y="234743"/>
                      <a:pt x="140846" y="248878"/>
                    </a:cubicBezTo>
                    <a:lnTo>
                      <a:pt x="140846" y="249888"/>
                    </a:lnTo>
                    <a:lnTo>
                      <a:pt x="3029" y="249888"/>
                    </a:lnTo>
                    <a:lnTo>
                      <a:pt x="3029" y="248878"/>
                    </a:lnTo>
                    <a:cubicBezTo>
                      <a:pt x="25241" y="234743"/>
                      <a:pt x="26755" y="228181"/>
                      <a:pt x="26755" y="194862"/>
                    </a:cubicBezTo>
                    <a:lnTo>
                      <a:pt x="26755" y="56035"/>
                    </a:lnTo>
                    <a:cubicBezTo>
                      <a:pt x="26755" y="21707"/>
                      <a:pt x="23726" y="14640"/>
                      <a:pt x="0" y="1009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2" name="TextBox 51"/>
              <p:cNvSpPr txBox="1">
                <a:spLocks/>
              </p:cNvSpPr>
              <p:nvPr/>
            </p:nvSpPr>
            <p:spPr>
              <a:xfrm>
                <a:off x="-1501643" y="2133303"/>
                <a:ext cx="323593" cy="363474"/>
              </a:xfrm>
              <a:custGeom>
                <a:avLst/>
                <a:gdLst/>
                <a:ahLst/>
                <a:cxnLst/>
                <a:rect l="l" t="t" r="r" b="b"/>
                <a:pathLst>
                  <a:path w="323593" h="363474">
                    <a:moveTo>
                      <a:pt x="190319" y="0"/>
                    </a:moveTo>
                    <a:cubicBezTo>
                      <a:pt x="236258" y="0"/>
                      <a:pt x="260994" y="15145"/>
                      <a:pt x="277653" y="15145"/>
                    </a:cubicBezTo>
                    <a:cubicBezTo>
                      <a:pt x="291284" y="15145"/>
                      <a:pt x="299866" y="9087"/>
                      <a:pt x="310467" y="0"/>
                    </a:cubicBezTo>
                    <a:lnTo>
                      <a:pt x="314001" y="120149"/>
                    </a:lnTo>
                    <a:lnTo>
                      <a:pt x="312991" y="120149"/>
                    </a:lnTo>
                    <a:cubicBezTo>
                      <a:pt x="287750" y="56541"/>
                      <a:pt x="250393" y="11107"/>
                      <a:pt x="199910" y="11107"/>
                    </a:cubicBezTo>
                    <a:cubicBezTo>
                      <a:pt x="137312" y="11107"/>
                      <a:pt x="101974" y="80268"/>
                      <a:pt x="101974" y="164573"/>
                    </a:cubicBezTo>
                    <a:cubicBezTo>
                      <a:pt x="101974" y="260490"/>
                      <a:pt x="155486" y="315011"/>
                      <a:pt x="221113" y="315011"/>
                    </a:cubicBezTo>
                    <a:cubicBezTo>
                      <a:pt x="263014" y="315011"/>
                      <a:pt x="297846" y="300371"/>
                      <a:pt x="320564" y="252918"/>
                    </a:cubicBezTo>
                    <a:lnTo>
                      <a:pt x="323593" y="253927"/>
                    </a:lnTo>
                    <a:cubicBezTo>
                      <a:pt x="306428" y="321574"/>
                      <a:pt x="252412" y="363474"/>
                      <a:pt x="173660" y="363474"/>
                    </a:cubicBezTo>
                    <a:cubicBezTo>
                      <a:pt x="74209" y="363474"/>
                      <a:pt x="0" y="293304"/>
                      <a:pt x="0" y="186786"/>
                    </a:cubicBezTo>
                    <a:cubicBezTo>
                      <a:pt x="0" y="76229"/>
                      <a:pt x="85820" y="0"/>
                      <a:pt x="190319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3" name="TextBox 52"/>
              <p:cNvSpPr txBox="1">
                <a:spLocks/>
              </p:cNvSpPr>
              <p:nvPr/>
            </p:nvSpPr>
            <p:spPr>
              <a:xfrm>
                <a:off x="-758693" y="2133303"/>
                <a:ext cx="362969" cy="363474"/>
              </a:xfrm>
              <a:custGeom>
                <a:avLst/>
                <a:gdLst/>
                <a:ahLst/>
                <a:cxnLst/>
                <a:rect l="l" t="t" r="r" b="b"/>
                <a:pathLst>
                  <a:path w="362969" h="363474">
                    <a:moveTo>
                      <a:pt x="181737" y="0"/>
                    </a:moveTo>
                    <a:cubicBezTo>
                      <a:pt x="285731" y="0"/>
                      <a:pt x="362969" y="75724"/>
                      <a:pt x="362969" y="181737"/>
                    </a:cubicBezTo>
                    <a:cubicBezTo>
                      <a:pt x="362969" y="287751"/>
                      <a:pt x="285731" y="363474"/>
                      <a:pt x="181737" y="363474"/>
                    </a:cubicBezTo>
                    <a:cubicBezTo>
                      <a:pt x="77238" y="363474"/>
                      <a:pt x="0" y="287751"/>
                      <a:pt x="0" y="181737"/>
                    </a:cubicBezTo>
                    <a:cubicBezTo>
                      <a:pt x="0" y="75724"/>
                      <a:pt x="77238" y="0"/>
                      <a:pt x="181737" y="0"/>
                    </a:cubicBezTo>
                    <a:close/>
                    <a:moveTo>
                      <a:pt x="181737" y="10097"/>
                    </a:moveTo>
                    <a:cubicBezTo>
                      <a:pt x="123682" y="10097"/>
                      <a:pt x="103994" y="70676"/>
                      <a:pt x="103994" y="181737"/>
                    </a:cubicBezTo>
                    <a:cubicBezTo>
                      <a:pt x="103994" y="292799"/>
                      <a:pt x="123682" y="353378"/>
                      <a:pt x="181737" y="353378"/>
                    </a:cubicBezTo>
                    <a:cubicBezTo>
                      <a:pt x="239287" y="353378"/>
                      <a:pt x="258975" y="292799"/>
                      <a:pt x="258975" y="181737"/>
                    </a:cubicBezTo>
                    <a:cubicBezTo>
                      <a:pt x="258975" y="70676"/>
                      <a:pt x="239287" y="10097"/>
                      <a:pt x="181737" y="10097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4" name="TextBox 53"/>
              <p:cNvSpPr txBox="1">
                <a:spLocks/>
              </p:cNvSpPr>
              <p:nvPr/>
            </p:nvSpPr>
            <p:spPr>
              <a:xfrm>
                <a:off x="-1156286" y="2133808"/>
                <a:ext cx="373571" cy="357921"/>
              </a:xfrm>
              <a:custGeom>
                <a:avLst/>
                <a:gdLst/>
                <a:ahLst/>
                <a:cxnLst/>
                <a:rect l="l" t="t" r="r" b="b"/>
                <a:pathLst>
                  <a:path w="373571" h="357921">
                    <a:moveTo>
                      <a:pt x="17164" y="0"/>
                    </a:moveTo>
                    <a:cubicBezTo>
                      <a:pt x="24232" y="3534"/>
                      <a:pt x="35338" y="4544"/>
                      <a:pt x="52502" y="4544"/>
                    </a:cubicBezTo>
                    <a:lnTo>
                      <a:pt x="321069" y="4544"/>
                    </a:lnTo>
                    <a:cubicBezTo>
                      <a:pt x="338233" y="4544"/>
                      <a:pt x="349339" y="3534"/>
                      <a:pt x="356407" y="0"/>
                    </a:cubicBezTo>
                    <a:lnTo>
                      <a:pt x="373571" y="119644"/>
                    </a:lnTo>
                    <a:lnTo>
                      <a:pt x="372561" y="119644"/>
                    </a:lnTo>
                    <a:cubicBezTo>
                      <a:pt x="329651" y="50988"/>
                      <a:pt x="309963" y="17669"/>
                      <a:pt x="255946" y="17669"/>
                    </a:cubicBezTo>
                    <a:lnTo>
                      <a:pt x="234239" y="17669"/>
                    </a:lnTo>
                    <a:lnTo>
                      <a:pt x="234239" y="297847"/>
                    </a:lnTo>
                    <a:cubicBezTo>
                      <a:pt x="234239" y="331165"/>
                      <a:pt x="240802" y="342272"/>
                      <a:pt x="263014" y="356912"/>
                    </a:cubicBezTo>
                    <a:lnTo>
                      <a:pt x="263014" y="357921"/>
                    </a:lnTo>
                    <a:lnTo>
                      <a:pt x="110557" y="357921"/>
                    </a:lnTo>
                    <a:lnTo>
                      <a:pt x="110557" y="356912"/>
                    </a:lnTo>
                    <a:cubicBezTo>
                      <a:pt x="133274" y="342272"/>
                      <a:pt x="139332" y="331165"/>
                      <a:pt x="139332" y="297847"/>
                    </a:cubicBezTo>
                    <a:lnTo>
                      <a:pt x="139332" y="17669"/>
                    </a:lnTo>
                    <a:lnTo>
                      <a:pt x="117624" y="17669"/>
                    </a:lnTo>
                    <a:cubicBezTo>
                      <a:pt x="63608" y="17669"/>
                      <a:pt x="43920" y="50988"/>
                      <a:pt x="1010" y="119644"/>
                    </a:cubicBezTo>
                    <a:lnTo>
                      <a:pt x="0" y="119644"/>
                    </a:lnTo>
                    <a:lnTo>
                      <a:pt x="17164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5" name="TextBox 54"/>
              <p:cNvSpPr txBox="1">
                <a:spLocks/>
              </p:cNvSpPr>
              <p:nvPr/>
            </p:nvSpPr>
            <p:spPr>
              <a:xfrm>
                <a:off x="-2145704" y="2148039"/>
                <a:ext cx="130738" cy="132991"/>
              </a:xfrm>
              <a:custGeom>
                <a:avLst/>
                <a:gdLst/>
                <a:ahLst/>
                <a:cxnLst/>
                <a:rect l="l" t="t" r="r" b="b"/>
                <a:pathLst>
                  <a:path w="130738" h="132991">
                    <a:moveTo>
                      <a:pt x="65709" y="0"/>
                    </a:moveTo>
                    <a:cubicBezTo>
                      <a:pt x="86122" y="0"/>
                      <a:pt x="102063" y="5891"/>
                      <a:pt x="113533" y="17673"/>
                    </a:cubicBezTo>
                    <a:cubicBezTo>
                      <a:pt x="125003" y="29455"/>
                      <a:pt x="130738" y="45715"/>
                      <a:pt x="130738" y="66451"/>
                    </a:cubicBezTo>
                    <a:cubicBezTo>
                      <a:pt x="130738" y="87129"/>
                      <a:pt x="124987" y="103389"/>
                      <a:pt x="113485" y="115230"/>
                    </a:cubicBezTo>
                    <a:cubicBezTo>
                      <a:pt x="101982" y="127071"/>
                      <a:pt x="85992" y="132991"/>
                      <a:pt x="65515" y="132991"/>
                    </a:cubicBezTo>
                    <a:cubicBezTo>
                      <a:pt x="44584" y="132991"/>
                      <a:pt x="28432" y="127174"/>
                      <a:pt x="17059" y="115539"/>
                    </a:cubicBezTo>
                    <a:cubicBezTo>
                      <a:pt x="5686" y="103904"/>
                      <a:pt x="0" y="87483"/>
                      <a:pt x="0" y="66275"/>
                    </a:cubicBezTo>
                    <a:cubicBezTo>
                      <a:pt x="0" y="45243"/>
                      <a:pt x="5702" y="28940"/>
                      <a:pt x="17107" y="17364"/>
                    </a:cubicBezTo>
                    <a:cubicBezTo>
                      <a:pt x="28513" y="5788"/>
                      <a:pt x="44713" y="0"/>
                      <a:pt x="65709" y="0"/>
                    </a:cubicBezTo>
                    <a:close/>
                    <a:moveTo>
                      <a:pt x="65709" y="13431"/>
                    </a:moveTo>
                    <a:cubicBezTo>
                      <a:pt x="49962" y="13431"/>
                      <a:pt x="37990" y="17953"/>
                      <a:pt x="29793" y="26996"/>
                    </a:cubicBezTo>
                    <a:cubicBezTo>
                      <a:pt x="21595" y="36038"/>
                      <a:pt x="17496" y="49190"/>
                      <a:pt x="17496" y="66451"/>
                    </a:cubicBezTo>
                    <a:cubicBezTo>
                      <a:pt x="17496" y="83948"/>
                      <a:pt x="21595" y="97218"/>
                      <a:pt x="29793" y="106261"/>
                    </a:cubicBezTo>
                    <a:cubicBezTo>
                      <a:pt x="37990" y="115303"/>
                      <a:pt x="49897" y="119825"/>
                      <a:pt x="65515" y="119825"/>
                    </a:cubicBezTo>
                    <a:cubicBezTo>
                      <a:pt x="81262" y="119825"/>
                      <a:pt x="93153" y="115318"/>
                      <a:pt x="101188" y="106305"/>
                    </a:cubicBezTo>
                    <a:cubicBezTo>
                      <a:pt x="109224" y="97291"/>
                      <a:pt x="113242" y="84007"/>
                      <a:pt x="113242" y="66451"/>
                    </a:cubicBezTo>
                    <a:cubicBezTo>
                      <a:pt x="113242" y="49073"/>
                      <a:pt x="109240" y="35891"/>
                      <a:pt x="101237" y="26907"/>
                    </a:cubicBezTo>
                    <a:cubicBezTo>
                      <a:pt x="93234" y="17923"/>
                      <a:pt x="81391" y="13431"/>
                      <a:pt x="65709" y="13431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3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6" name="TextBox 55"/>
              <p:cNvSpPr txBox="1">
                <a:spLocks/>
              </p:cNvSpPr>
              <p:nvPr/>
            </p:nvSpPr>
            <p:spPr>
              <a:xfrm>
                <a:off x="-1995442" y="2150070"/>
                <a:ext cx="79221" cy="129192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60620"/>
                    </a:lnTo>
                    <a:lnTo>
                      <a:pt x="75430" y="60620"/>
                    </a:lnTo>
                    <a:lnTo>
                      <a:pt x="75430" y="73963"/>
                    </a:lnTo>
                    <a:lnTo>
                      <a:pt x="16525" y="73963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3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7" name="TextBox 56"/>
              <p:cNvSpPr txBox="1">
                <a:spLocks/>
              </p:cNvSpPr>
              <p:nvPr/>
            </p:nvSpPr>
            <p:spPr>
              <a:xfrm>
                <a:off x="-1879880" y="2150070"/>
                <a:ext cx="106535" cy="129192"/>
              </a:xfrm>
              <a:custGeom>
                <a:avLst/>
                <a:gdLst/>
                <a:ahLst/>
                <a:cxnLst/>
                <a:rect l="l" t="t" r="r" b="b"/>
                <a:pathLst>
                  <a:path w="106535" h="129192">
                    <a:moveTo>
                      <a:pt x="0" y="0"/>
                    </a:moveTo>
                    <a:lnTo>
                      <a:pt x="106535" y="0"/>
                    </a:lnTo>
                    <a:lnTo>
                      <a:pt x="106535" y="13343"/>
                    </a:lnTo>
                    <a:lnTo>
                      <a:pt x="61530" y="13343"/>
                    </a:lnTo>
                    <a:lnTo>
                      <a:pt x="61530" y="129192"/>
                    </a:lnTo>
                    <a:lnTo>
                      <a:pt x="45005" y="129192"/>
                    </a:lnTo>
                    <a:lnTo>
                      <a:pt x="45005" y="13343"/>
                    </a:lnTo>
                    <a:lnTo>
                      <a:pt x="0" y="1334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3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8" name="TextBox 57"/>
              <p:cNvSpPr txBox="1">
                <a:spLocks/>
              </p:cNvSpPr>
              <p:nvPr/>
            </p:nvSpPr>
            <p:spPr>
              <a:xfrm>
                <a:off x="-1757317" y="2150070"/>
                <a:ext cx="107896" cy="129192"/>
              </a:xfrm>
              <a:custGeom>
                <a:avLst/>
                <a:gdLst/>
                <a:ahLst/>
                <a:cxnLst/>
                <a:rect l="l" t="t" r="r" b="b"/>
                <a:pathLst>
                  <a:path w="107896" h="129192">
                    <a:moveTo>
                      <a:pt x="0" y="0"/>
                    </a:moveTo>
                    <a:lnTo>
                      <a:pt x="16525" y="0"/>
                    </a:lnTo>
                    <a:lnTo>
                      <a:pt x="16525" y="54964"/>
                    </a:lnTo>
                    <a:lnTo>
                      <a:pt x="91371" y="54964"/>
                    </a:lnTo>
                    <a:lnTo>
                      <a:pt x="91371" y="0"/>
                    </a:lnTo>
                    <a:lnTo>
                      <a:pt x="107896" y="0"/>
                    </a:lnTo>
                    <a:lnTo>
                      <a:pt x="107896" y="129192"/>
                    </a:lnTo>
                    <a:lnTo>
                      <a:pt x="91371" y="129192"/>
                    </a:lnTo>
                    <a:lnTo>
                      <a:pt x="91371" y="68396"/>
                    </a:lnTo>
                    <a:lnTo>
                      <a:pt x="16525" y="68396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3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9" name="TextBox 58"/>
              <p:cNvSpPr txBox="1">
                <a:spLocks/>
              </p:cNvSpPr>
              <p:nvPr/>
            </p:nvSpPr>
            <p:spPr>
              <a:xfrm>
                <a:off x="-1623967" y="2150070"/>
                <a:ext cx="79221" cy="129192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54964"/>
                    </a:lnTo>
                    <a:lnTo>
                      <a:pt x="75430" y="54964"/>
                    </a:lnTo>
                    <a:lnTo>
                      <a:pt x="75430" y="68219"/>
                    </a:lnTo>
                    <a:lnTo>
                      <a:pt x="16525" y="68219"/>
                    </a:lnTo>
                    <a:lnTo>
                      <a:pt x="16525" y="115760"/>
                    </a:lnTo>
                    <a:lnTo>
                      <a:pt x="79221" y="115760"/>
                    </a:lnTo>
                    <a:lnTo>
                      <a:pt x="79221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3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46" name="Freeform 45"/>
            <p:cNvSpPr>
              <a:spLocks noEditPoints="1"/>
            </p:cNvSpPr>
            <p:nvPr/>
          </p:nvSpPr>
          <p:spPr bwMode="auto">
            <a:xfrm>
              <a:off x="7526204" y="2289887"/>
              <a:ext cx="3108960" cy="1718692"/>
            </a:xfrm>
            <a:custGeom>
              <a:avLst/>
              <a:gdLst>
                <a:gd name="T0" fmla="*/ 279 w 326"/>
                <a:gd name="T1" fmla="*/ 180 h 180"/>
                <a:gd name="T2" fmla="*/ 271 w 326"/>
                <a:gd name="T3" fmla="*/ 179 h 180"/>
                <a:gd name="T4" fmla="*/ 45 w 326"/>
                <a:gd name="T5" fmla="*/ 179 h 180"/>
                <a:gd name="T6" fmla="*/ 6 w 326"/>
                <a:gd name="T7" fmla="*/ 153 h 180"/>
                <a:gd name="T8" fmla="*/ 0 w 326"/>
                <a:gd name="T9" fmla="*/ 129 h 180"/>
                <a:gd name="T10" fmla="*/ 32 w 326"/>
                <a:gd name="T11" fmla="*/ 82 h 180"/>
                <a:gd name="T12" fmla="*/ 30 w 326"/>
                <a:gd name="T13" fmla="*/ 70 h 180"/>
                <a:gd name="T14" fmla="*/ 100 w 326"/>
                <a:gd name="T15" fmla="*/ 0 h 180"/>
                <a:gd name="T16" fmla="*/ 154 w 326"/>
                <a:gd name="T17" fmla="*/ 26 h 180"/>
                <a:gd name="T18" fmla="*/ 187 w 326"/>
                <a:gd name="T19" fmla="*/ 16 h 180"/>
                <a:gd name="T20" fmla="*/ 242 w 326"/>
                <a:gd name="T21" fmla="*/ 55 h 180"/>
                <a:gd name="T22" fmla="*/ 245 w 326"/>
                <a:gd name="T23" fmla="*/ 54 h 180"/>
                <a:gd name="T24" fmla="*/ 280 w 326"/>
                <a:gd name="T25" fmla="*/ 85 h 180"/>
                <a:gd name="T26" fmla="*/ 326 w 326"/>
                <a:gd name="T27" fmla="*/ 132 h 180"/>
                <a:gd name="T28" fmla="*/ 279 w 326"/>
                <a:gd name="T29" fmla="*/ 180 h 180"/>
                <a:gd name="T30" fmla="*/ 100 w 326"/>
                <a:gd name="T31" fmla="*/ 4 h 180"/>
                <a:gd name="T32" fmla="*/ 34 w 326"/>
                <a:gd name="T33" fmla="*/ 70 h 180"/>
                <a:gd name="T34" fmla="*/ 36 w 326"/>
                <a:gd name="T35" fmla="*/ 83 h 180"/>
                <a:gd name="T36" fmla="*/ 36 w 326"/>
                <a:gd name="T37" fmla="*/ 85 h 180"/>
                <a:gd name="T38" fmla="*/ 35 w 326"/>
                <a:gd name="T39" fmla="*/ 86 h 180"/>
                <a:gd name="T40" fmla="*/ 4 w 326"/>
                <a:gd name="T41" fmla="*/ 129 h 180"/>
                <a:gd name="T42" fmla="*/ 10 w 326"/>
                <a:gd name="T43" fmla="*/ 151 h 180"/>
                <a:gd name="T44" fmla="*/ 10 w 326"/>
                <a:gd name="T45" fmla="*/ 151 h 180"/>
                <a:gd name="T46" fmla="*/ 45 w 326"/>
                <a:gd name="T47" fmla="*/ 175 h 180"/>
                <a:gd name="T48" fmla="*/ 271 w 326"/>
                <a:gd name="T49" fmla="*/ 175 h 180"/>
                <a:gd name="T50" fmla="*/ 272 w 326"/>
                <a:gd name="T51" fmla="*/ 175 h 180"/>
                <a:gd name="T52" fmla="*/ 279 w 326"/>
                <a:gd name="T53" fmla="*/ 176 h 180"/>
                <a:gd name="T54" fmla="*/ 322 w 326"/>
                <a:gd name="T55" fmla="*/ 132 h 180"/>
                <a:gd name="T56" fmla="*/ 279 w 326"/>
                <a:gd name="T57" fmla="*/ 89 h 180"/>
                <a:gd name="T58" fmla="*/ 278 w 326"/>
                <a:gd name="T59" fmla="*/ 89 h 180"/>
                <a:gd name="T60" fmla="*/ 276 w 326"/>
                <a:gd name="T61" fmla="*/ 89 h 180"/>
                <a:gd name="T62" fmla="*/ 276 w 326"/>
                <a:gd name="T63" fmla="*/ 87 h 180"/>
                <a:gd name="T64" fmla="*/ 245 w 326"/>
                <a:gd name="T65" fmla="*/ 58 h 180"/>
                <a:gd name="T66" fmla="*/ 240 w 326"/>
                <a:gd name="T67" fmla="*/ 59 h 180"/>
                <a:gd name="T68" fmla="*/ 239 w 326"/>
                <a:gd name="T69" fmla="*/ 59 h 180"/>
                <a:gd name="T70" fmla="*/ 238 w 326"/>
                <a:gd name="T71" fmla="*/ 57 h 180"/>
                <a:gd name="T72" fmla="*/ 187 w 326"/>
                <a:gd name="T73" fmla="*/ 20 h 180"/>
                <a:gd name="T74" fmla="*/ 155 w 326"/>
                <a:gd name="T75" fmla="*/ 30 h 180"/>
                <a:gd name="T76" fmla="*/ 153 w 326"/>
                <a:gd name="T77" fmla="*/ 31 h 180"/>
                <a:gd name="T78" fmla="*/ 152 w 326"/>
                <a:gd name="T79" fmla="*/ 30 h 180"/>
                <a:gd name="T80" fmla="*/ 100 w 326"/>
                <a:gd name="T81" fmla="*/ 4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26" h="180">
                  <a:moveTo>
                    <a:pt x="279" y="180"/>
                  </a:moveTo>
                  <a:cubicBezTo>
                    <a:pt x="276" y="180"/>
                    <a:pt x="274" y="179"/>
                    <a:pt x="271" y="179"/>
                  </a:cubicBezTo>
                  <a:cubicBezTo>
                    <a:pt x="45" y="179"/>
                    <a:pt x="45" y="179"/>
                    <a:pt x="45" y="179"/>
                  </a:cubicBezTo>
                  <a:cubicBezTo>
                    <a:pt x="28" y="179"/>
                    <a:pt x="13" y="169"/>
                    <a:pt x="6" y="153"/>
                  </a:cubicBezTo>
                  <a:cubicBezTo>
                    <a:pt x="2" y="146"/>
                    <a:pt x="0" y="137"/>
                    <a:pt x="0" y="129"/>
                  </a:cubicBezTo>
                  <a:cubicBezTo>
                    <a:pt x="0" y="109"/>
                    <a:pt x="13" y="90"/>
                    <a:pt x="32" y="82"/>
                  </a:cubicBezTo>
                  <a:cubicBezTo>
                    <a:pt x="31" y="78"/>
                    <a:pt x="30" y="74"/>
                    <a:pt x="30" y="70"/>
                  </a:cubicBezTo>
                  <a:cubicBezTo>
                    <a:pt x="30" y="32"/>
                    <a:pt x="62" y="0"/>
                    <a:pt x="100" y="0"/>
                  </a:cubicBezTo>
                  <a:cubicBezTo>
                    <a:pt x="121" y="0"/>
                    <a:pt x="141" y="10"/>
                    <a:pt x="154" y="26"/>
                  </a:cubicBezTo>
                  <a:cubicBezTo>
                    <a:pt x="164" y="19"/>
                    <a:pt x="175" y="16"/>
                    <a:pt x="187" y="16"/>
                  </a:cubicBezTo>
                  <a:cubicBezTo>
                    <a:pt x="212" y="16"/>
                    <a:pt x="233" y="31"/>
                    <a:pt x="242" y="55"/>
                  </a:cubicBezTo>
                  <a:cubicBezTo>
                    <a:pt x="243" y="54"/>
                    <a:pt x="244" y="54"/>
                    <a:pt x="245" y="54"/>
                  </a:cubicBezTo>
                  <a:cubicBezTo>
                    <a:pt x="263" y="54"/>
                    <a:pt x="278" y="68"/>
                    <a:pt x="280" y="85"/>
                  </a:cubicBezTo>
                  <a:cubicBezTo>
                    <a:pt x="305" y="86"/>
                    <a:pt x="326" y="107"/>
                    <a:pt x="326" y="132"/>
                  </a:cubicBezTo>
                  <a:cubicBezTo>
                    <a:pt x="326" y="158"/>
                    <a:pt x="305" y="180"/>
                    <a:pt x="279" y="180"/>
                  </a:cubicBezTo>
                  <a:close/>
                  <a:moveTo>
                    <a:pt x="100" y="4"/>
                  </a:moveTo>
                  <a:cubicBezTo>
                    <a:pt x="64" y="4"/>
                    <a:pt x="34" y="34"/>
                    <a:pt x="34" y="70"/>
                  </a:cubicBezTo>
                  <a:cubicBezTo>
                    <a:pt x="34" y="75"/>
                    <a:pt x="35" y="79"/>
                    <a:pt x="36" y="83"/>
                  </a:cubicBezTo>
                  <a:cubicBezTo>
                    <a:pt x="36" y="85"/>
                    <a:pt x="36" y="85"/>
                    <a:pt x="36" y="85"/>
                  </a:cubicBezTo>
                  <a:cubicBezTo>
                    <a:pt x="35" y="86"/>
                    <a:pt x="35" y="86"/>
                    <a:pt x="35" y="86"/>
                  </a:cubicBezTo>
                  <a:cubicBezTo>
                    <a:pt x="16" y="92"/>
                    <a:pt x="4" y="110"/>
                    <a:pt x="4" y="129"/>
                  </a:cubicBezTo>
                  <a:cubicBezTo>
                    <a:pt x="4" y="137"/>
                    <a:pt x="6" y="144"/>
                    <a:pt x="10" y="151"/>
                  </a:cubicBezTo>
                  <a:cubicBezTo>
                    <a:pt x="10" y="151"/>
                    <a:pt x="10" y="151"/>
                    <a:pt x="10" y="151"/>
                  </a:cubicBezTo>
                  <a:cubicBezTo>
                    <a:pt x="16" y="166"/>
                    <a:pt x="30" y="175"/>
                    <a:pt x="45" y="175"/>
                  </a:cubicBezTo>
                  <a:cubicBezTo>
                    <a:pt x="271" y="175"/>
                    <a:pt x="271" y="175"/>
                    <a:pt x="271" y="175"/>
                  </a:cubicBezTo>
                  <a:cubicBezTo>
                    <a:pt x="272" y="175"/>
                    <a:pt x="272" y="175"/>
                    <a:pt x="272" y="175"/>
                  </a:cubicBezTo>
                  <a:cubicBezTo>
                    <a:pt x="274" y="175"/>
                    <a:pt x="276" y="176"/>
                    <a:pt x="279" y="176"/>
                  </a:cubicBezTo>
                  <a:cubicBezTo>
                    <a:pt x="303" y="176"/>
                    <a:pt x="322" y="156"/>
                    <a:pt x="322" y="132"/>
                  </a:cubicBezTo>
                  <a:cubicBezTo>
                    <a:pt x="322" y="109"/>
                    <a:pt x="303" y="89"/>
                    <a:pt x="279" y="89"/>
                  </a:cubicBezTo>
                  <a:cubicBezTo>
                    <a:pt x="279" y="89"/>
                    <a:pt x="278" y="89"/>
                    <a:pt x="278" y="89"/>
                  </a:cubicBezTo>
                  <a:cubicBezTo>
                    <a:pt x="276" y="89"/>
                    <a:pt x="276" y="89"/>
                    <a:pt x="276" y="89"/>
                  </a:cubicBezTo>
                  <a:cubicBezTo>
                    <a:pt x="276" y="87"/>
                    <a:pt x="276" y="87"/>
                    <a:pt x="276" y="87"/>
                  </a:cubicBezTo>
                  <a:cubicBezTo>
                    <a:pt x="275" y="71"/>
                    <a:pt x="261" y="58"/>
                    <a:pt x="245" y="58"/>
                  </a:cubicBezTo>
                  <a:cubicBezTo>
                    <a:pt x="243" y="58"/>
                    <a:pt x="242" y="59"/>
                    <a:pt x="240" y="59"/>
                  </a:cubicBezTo>
                  <a:cubicBezTo>
                    <a:pt x="239" y="59"/>
                    <a:pt x="239" y="59"/>
                    <a:pt x="239" y="59"/>
                  </a:cubicBezTo>
                  <a:cubicBezTo>
                    <a:pt x="238" y="57"/>
                    <a:pt x="238" y="57"/>
                    <a:pt x="238" y="57"/>
                  </a:cubicBezTo>
                  <a:cubicBezTo>
                    <a:pt x="231" y="35"/>
                    <a:pt x="210" y="20"/>
                    <a:pt x="187" y="20"/>
                  </a:cubicBezTo>
                  <a:cubicBezTo>
                    <a:pt x="175" y="20"/>
                    <a:pt x="164" y="23"/>
                    <a:pt x="155" y="30"/>
                  </a:cubicBezTo>
                  <a:cubicBezTo>
                    <a:pt x="153" y="31"/>
                    <a:pt x="153" y="31"/>
                    <a:pt x="153" y="31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39" y="14"/>
                    <a:pt x="121" y="4"/>
                    <a:pt x="100" y="4"/>
                  </a:cubicBezTo>
                  <a:close/>
                </a:path>
              </a:pathLst>
            </a:custGeom>
            <a:solidFill>
              <a:srgbClr val="34697F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60" name="Rectangle 59"/>
          <p:cNvSpPr/>
          <p:nvPr userDrawn="1"/>
        </p:nvSpPr>
        <p:spPr>
          <a:xfrm flipH="1">
            <a:off x="-1591" y="4732897"/>
            <a:ext cx="12193589" cy="336177"/>
          </a:xfrm>
          <a:prstGeom prst="rect">
            <a:avLst/>
          </a:prstGeom>
          <a:solidFill>
            <a:srgbClr val="064E6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1" dirty="0">
              <a:solidFill>
                <a:schemeClr val="bg2">
                  <a:lumMod val="40000"/>
                  <a:lumOff val="6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963149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, Division">
    <p:bg>
      <p:bgPr>
        <a:solidFill>
          <a:srgbClr val="064E6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119093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46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/>
          <p:cNvSpPr>
            <a:spLocks noChangeAspect="1"/>
          </p:cNvSpPr>
          <p:nvPr/>
        </p:nvSpPr>
        <p:spPr>
          <a:xfrm>
            <a:off x="7751366" y="0"/>
            <a:ext cx="4440634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solidFill>
                <a:schemeClr val="accent4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7629890" y="0"/>
            <a:ext cx="121476" cy="6858000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0" name="Group 9"/>
          <p:cNvGrpSpPr/>
          <p:nvPr userDrawn="1"/>
        </p:nvGrpSpPr>
        <p:grpSpPr>
          <a:xfrm>
            <a:off x="834187" y="5051932"/>
            <a:ext cx="2121961" cy="1172755"/>
            <a:chOff x="834187" y="5007328"/>
            <a:chExt cx="2121961" cy="1172755"/>
          </a:xfrm>
        </p:grpSpPr>
        <p:sp>
          <p:nvSpPr>
            <p:cNvPr id="12" name="TextBox 11"/>
            <p:cNvSpPr txBox="1">
              <a:spLocks/>
            </p:cNvSpPr>
            <p:nvPr/>
          </p:nvSpPr>
          <p:spPr>
            <a:xfrm>
              <a:off x="1476280" y="5399774"/>
              <a:ext cx="335594" cy="263468"/>
            </a:xfrm>
            <a:custGeom>
              <a:avLst/>
              <a:gdLst/>
              <a:ahLst/>
              <a:cxnLst/>
              <a:rect l="l" t="t" r="r" b="b"/>
              <a:pathLst>
                <a:path w="486642" h="382152">
                  <a:moveTo>
                    <a:pt x="150943" y="0"/>
                  </a:moveTo>
                  <a:cubicBezTo>
                    <a:pt x="191582" y="0"/>
                    <a:pt x="224490" y="12368"/>
                    <a:pt x="232082" y="39810"/>
                  </a:cubicBezTo>
                  <a:lnTo>
                    <a:pt x="232262" y="41192"/>
                  </a:lnTo>
                  <a:lnTo>
                    <a:pt x="244394" y="27828"/>
                  </a:lnTo>
                  <a:cubicBezTo>
                    <a:pt x="265912" y="9086"/>
                    <a:pt x="296328" y="0"/>
                    <a:pt x="331918" y="0"/>
                  </a:cubicBezTo>
                  <a:cubicBezTo>
                    <a:pt x="355140" y="0"/>
                    <a:pt x="375838" y="4038"/>
                    <a:pt x="390730" y="12620"/>
                  </a:cubicBezTo>
                  <a:lnTo>
                    <a:pt x="399550" y="19037"/>
                  </a:lnTo>
                  <a:lnTo>
                    <a:pt x="415123" y="9213"/>
                  </a:lnTo>
                  <a:cubicBezTo>
                    <a:pt x="421204" y="6846"/>
                    <a:pt x="427956" y="5553"/>
                    <a:pt x="435150" y="5553"/>
                  </a:cubicBezTo>
                  <a:cubicBezTo>
                    <a:pt x="464430" y="5553"/>
                    <a:pt x="486642" y="26250"/>
                    <a:pt x="486642" y="53511"/>
                  </a:cubicBezTo>
                  <a:cubicBezTo>
                    <a:pt x="486642" y="80772"/>
                    <a:pt x="464430" y="101974"/>
                    <a:pt x="435150" y="101974"/>
                  </a:cubicBezTo>
                  <a:cubicBezTo>
                    <a:pt x="420763" y="101974"/>
                    <a:pt x="408142" y="96674"/>
                    <a:pt x="399118" y="87965"/>
                  </a:cubicBezTo>
                  <a:lnTo>
                    <a:pt x="397141" y="85099"/>
                  </a:lnTo>
                  <a:lnTo>
                    <a:pt x="387023" y="90979"/>
                  </a:lnTo>
                  <a:cubicBezTo>
                    <a:pt x="381675" y="92887"/>
                    <a:pt x="375838" y="93897"/>
                    <a:pt x="369780" y="93897"/>
                  </a:cubicBezTo>
                  <a:cubicBezTo>
                    <a:pt x="355140" y="93897"/>
                    <a:pt x="342015" y="89354"/>
                    <a:pt x="335452" y="81781"/>
                  </a:cubicBezTo>
                  <a:cubicBezTo>
                    <a:pt x="350092" y="78247"/>
                    <a:pt x="359179" y="66132"/>
                    <a:pt x="359179" y="42910"/>
                  </a:cubicBezTo>
                  <a:cubicBezTo>
                    <a:pt x="359179" y="22717"/>
                    <a:pt x="350597" y="8077"/>
                    <a:pt x="331918" y="8077"/>
                  </a:cubicBezTo>
                  <a:cubicBezTo>
                    <a:pt x="308696" y="8077"/>
                    <a:pt x="300619" y="29784"/>
                    <a:pt x="300619" y="58054"/>
                  </a:cubicBezTo>
                  <a:lnTo>
                    <a:pt x="300619" y="132264"/>
                  </a:lnTo>
                  <a:lnTo>
                    <a:pt x="363217" y="132264"/>
                  </a:lnTo>
                  <a:lnTo>
                    <a:pt x="360693" y="144884"/>
                  </a:lnTo>
                  <a:lnTo>
                    <a:pt x="300619" y="144884"/>
                  </a:lnTo>
                  <a:lnTo>
                    <a:pt x="300619" y="327126"/>
                  </a:lnTo>
                  <a:cubicBezTo>
                    <a:pt x="300619" y="360445"/>
                    <a:pt x="312230" y="369027"/>
                    <a:pt x="339490" y="381142"/>
                  </a:cubicBezTo>
                  <a:lnTo>
                    <a:pt x="339490" y="382152"/>
                  </a:lnTo>
                  <a:lnTo>
                    <a:pt x="186529" y="382152"/>
                  </a:lnTo>
                  <a:lnTo>
                    <a:pt x="186529" y="381142"/>
                  </a:lnTo>
                  <a:cubicBezTo>
                    <a:pt x="208741" y="367007"/>
                    <a:pt x="210255" y="360445"/>
                    <a:pt x="210255" y="327126"/>
                  </a:cubicBezTo>
                  <a:lnTo>
                    <a:pt x="210255" y="144884"/>
                  </a:lnTo>
                  <a:lnTo>
                    <a:pt x="180976" y="144884"/>
                  </a:lnTo>
                  <a:lnTo>
                    <a:pt x="180976" y="139331"/>
                  </a:lnTo>
                  <a:lnTo>
                    <a:pt x="210255" y="128225"/>
                  </a:lnTo>
                  <a:lnTo>
                    <a:pt x="210255" y="113585"/>
                  </a:lnTo>
                  <a:lnTo>
                    <a:pt x="212504" y="87227"/>
                  </a:lnTo>
                  <a:lnTo>
                    <a:pt x="206048" y="90979"/>
                  </a:lnTo>
                  <a:cubicBezTo>
                    <a:pt x="200700" y="92887"/>
                    <a:pt x="194863" y="93897"/>
                    <a:pt x="188805" y="93897"/>
                  </a:cubicBezTo>
                  <a:cubicBezTo>
                    <a:pt x="174165" y="93897"/>
                    <a:pt x="161040" y="89354"/>
                    <a:pt x="154477" y="81781"/>
                  </a:cubicBezTo>
                  <a:cubicBezTo>
                    <a:pt x="169117" y="78247"/>
                    <a:pt x="178204" y="66132"/>
                    <a:pt x="178204" y="42910"/>
                  </a:cubicBezTo>
                  <a:cubicBezTo>
                    <a:pt x="178204" y="22717"/>
                    <a:pt x="169622" y="8077"/>
                    <a:pt x="150943" y="8077"/>
                  </a:cubicBezTo>
                  <a:cubicBezTo>
                    <a:pt x="127721" y="8077"/>
                    <a:pt x="119644" y="29784"/>
                    <a:pt x="119644" y="58054"/>
                  </a:cubicBezTo>
                  <a:lnTo>
                    <a:pt x="119644" y="132264"/>
                  </a:lnTo>
                  <a:lnTo>
                    <a:pt x="182242" y="132264"/>
                  </a:lnTo>
                  <a:lnTo>
                    <a:pt x="179718" y="144884"/>
                  </a:lnTo>
                  <a:lnTo>
                    <a:pt x="119644" y="144884"/>
                  </a:lnTo>
                  <a:lnTo>
                    <a:pt x="119644" y="327126"/>
                  </a:lnTo>
                  <a:cubicBezTo>
                    <a:pt x="119644" y="360445"/>
                    <a:pt x="131255" y="369027"/>
                    <a:pt x="158516" y="381142"/>
                  </a:cubicBezTo>
                  <a:lnTo>
                    <a:pt x="158516" y="382152"/>
                  </a:lnTo>
                  <a:lnTo>
                    <a:pt x="5554" y="382152"/>
                  </a:lnTo>
                  <a:lnTo>
                    <a:pt x="5554" y="381142"/>
                  </a:lnTo>
                  <a:cubicBezTo>
                    <a:pt x="27766" y="367007"/>
                    <a:pt x="29280" y="360445"/>
                    <a:pt x="29280" y="327126"/>
                  </a:cubicBezTo>
                  <a:lnTo>
                    <a:pt x="29280" y="144884"/>
                  </a:lnTo>
                  <a:lnTo>
                    <a:pt x="0" y="144884"/>
                  </a:lnTo>
                  <a:lnTo>
                    <a:pt x="0" y="139331"/>
                  </a:lnTo>
                  <a:lnTo>
                    <a:pt x="29280" y="128225"/>
                  </a:lnTo>
                  <a:lnTo>
                    <a:pt x="29280" y="113585"/>
                  </a:lnTo>
                  <a:cubicBezTo>
                    <a:pt x="29280" y="36347"/>
                    <a:pt x="79763" y="0"/>
                    <a:pt x="150943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extBox 12"/>
            <p:cNvSpPr txBox="1">
              <a:spLocks/>
            </p:cNvSpPr>
            <p:nvPr/>
          </p:nvSpPr>
          <p:spPr>
            <a:xfrm>
              <a:off x="1205971" y="5416132"/>
              <a:ext cx="250308" cy="250591"/>
            </a:xfrm>
            <a:custGeom>
              <a:avLst/>
              <a:gdLst/>
              <a:ahLst/>
              <a:cxnLst/>
              <a:rect l="l" t="t" r="r" b="b"/>
              <a:pathLst>
                <a:path w="362969" h="363474">
                  <a:moveTo>
                    <a:pt x="181737" y="0"/>
                  </a:moveTo>
                  <a:cubicBezTo>
                    <a:pt x="285731" y="0"/>
                    <a:pt x="362969" y="75724"/>
                    <a:pt x="362969" y="181737"/>
                  </a:cubicBezTo>
                  <a:cubicBezTo>
                    <a:pt x="362969" y="287751"/>
                    <a:pt x="285731" y="363474"/>
                    <a:pt x="181737" y="363474"/>
                  </a:cubicBezTo>
                  <a:cubicBezTo>
                    <a:pt x="77238" y="363474"/>
                    <a:pt x="0" y="287751"/>
                    <a:pt x="0" y="181737"/>
                  </a:cubicBezTo>
                  <a:cubicBezTo>
                    <a:pt x="0" y="75724"/>
                    <a:pt x="77238" y="0"/>
                    <a:pt x="181737" y="0"/>
                  </a:cubicBezTo>
                  <a:close/>
                  <a:moveTo>
                    <a:pt x="181737" y="10097"/>
                  </a:moveTo>
                  <a:cubicBezTo>
                    <a:pt x="123682" y="10097"/>
                    <a:pt x="103994" y="70676"/>
                    <a:pt x="103994" y="181737"/>
                  </a:cubicBezTo>
                  <a:cubicBezTo>
                    <a:pt x="103994" y="292799"/>
                    <a:pt x="123682" y="353378"/>
                    <a:pt x="181737" y="353378"/>
                  </a:cubicBezTo>
                  <a:cubicBezTo>
                    <a:pt x="239287" y="353378"/>
                    <a:pt x="258975" y="292799"/>
                    <a:pt x="258975" y="181737"/>
                  </a:cubicBezTo>
                  <a:cubicBezTo>
                    <a:pt x="258975" y="70676"/>
                    <a:pt x="239287" y="10097"/>
                    <a:pt x="181737" y="1009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TextBox 13"/>
            <p:cNvSpPr txBox="1">
              <a:spLocks/>
            </p:cNvSpPr>
            <p:nvPr/>
          </p:nvSpPr>
          <p:spPr>
            <a:xfrm>
              <a:off x="1840684" y="5487481"/>
              <a:ext cx="169193" cy="179242"/>
            </a:xfrm>
            <a:custGeom>
              <a:avLst/>
              <a:gdLst/>
              <a:ahLst/>
              <a:cxnLst/>
              <a:rect l="l" t="t" r="r" b="b"/>
              <a:pathLst>
                <a:path w="245345" h="259984">
                  <a:moveTo>
                    <a:pt x="144885" y="0"/>
                  </a:moveTo>
                  <a:cubicBezTo>
                    <a:pt x="199406" y="0"/>
                    <a:pt x="240297" y="23726"/>
                    <a:pt x="240297" y="65122"/>
                  </a:cubicBezTo>
                  <a:cubicBezTo>
                    <a:pt x="240297" y="95411"/>
                    <a:pt x="217075" y="111061"/>
                    <a:pt x="192843" y="111061"/>
                  </a:cubicBezTo>
                  <a:cubicBezTo>
                    <a:pt x="166087" y="111061"/>
                    <a:pt x="150438" y="96421"/>
                    <a:pt x="148923" y="81781"/>
                  </a:cubicBezTo>
                  <a:cubicBezTo>
                    <a:pt x="151952" y="82791"/>
                    <a:pt x="155486" y="83296"/>
                    <a:pt x="158010" y="83296"/>
                  </a:cubicBezTo>
                  <a:cubicBezTo>
                    <a:pt x="176689" y="83296"/>
                    <a:pt x="184261" y="67646"/>
                    <a:pt x="184261" y="48463"/>
                  </a:cubicBezTo>
                  <a:cubicBezTo>
                    <a:pt x="184261" y="24231"/>
                    <a:pt x="171136" y="8582"/>
                    <a:pt x="145894" y="8582"/>
                  </a:cubicBezTo>
                  <a:cubicBezTo>
                    <a:pt x="110557" y="8582"/>
                    <a:pt x="93897" y="54016"/>
                    <a:pt x="93897" y="112575"/>
                  </a:cubicBezTo>
                  <a:cubicBezTo>
                    <a:pt x="93897" y="181737"/>
                    <a:pt x="124692" y="218589"/>
                    <a:pt x="171640" y="218589"/>
                  </a:cubicBezTo>
                  <a:cubicBezTo>
                    <a:pt x="200415" y="218589"/>
                    <a:pt x="226666" y="204958"/>
                    <a:pt x="242316" y="173659"/>
                  </a:cubicBezTo>
                  <a:lnTo>
                    <a:pt x="245345" y="175174"/>
                  </a:lnTo>
                  <a:cubicBezTo>
                    <a:pt x="231210" y="229190"/>
                    <a:pt x="185775" y="259984"/>
                    <a:pt x="129740" y="259984"/>
                  </a:cubicBezTo>
                  <a:cubicBezTo>
                    <a:pt x="60074" y="259984"/>
                    <a:pt x="0" y="213036"/>
                    <a:pt x="0" y="134788"/>
                  </a:cubicBezTo>
                  <a:cubicBezTo>
                    <a:pt x="0" y="49977"/>
                    <a:pt x="63608" y="0"/>
                    <a:pt x="144885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5" name="TextBox 14"/>
            <p:cNvSpPr txBox="1">
              <a:spLocks/>
            </p:cNvSpPr>
            <p:nvPr/>
          </p:nvSpPr>
          <p:spPr>
            <a:xfrm>
              <a:off x="2024603" y="5487481"/>
              <a:ext cx="173719" cy="179242"/>
            </a:xfrm>
            <a:custGeom>
              <a:avLst/>
              <a:gdLst/>
              <a:ahLst/>
              <a:cxnLst/>
              <a:rect l="l" t="t" r="r" b="b"/>
              <a:pathLst>
                <a:path w="251908" h="259984">
                  <a:moveTo>
                    <a:pt x="132264" y="0"/>
                  </a:moveTo>
                  <a:cubicBezTo>
                    <a:pt x="213541" y="0"/>
                    <a:pt x="251908" y="51996"/>
                    <a:pt x="251908" y="118633"/>
                  </a:cubicBezTo>
                  <a:lnTo>
                    <a:pt x="91373" y="118633"/>
                  </a:lnTo>
                  <a:cubicBezTo>
                    <a:pt x="91373" y="181232"/>
                    <a:pt x="124187" y="218589"/>
                    <a:pt x="172650" y="218589"/>
                  </a:cubicBezTo>
                  <a:cubicBezTo>
                    <a:pt x="203444" y="218589"/>
                    <a:pt x="230200" y="204958"/>
                    <a:pt x="245850" y="173659"/>
                  </a:cubicBezTo>
                  <a:lnTo>
                    <a:pt x="249383" y="175174"/>
                  </a:lnTo>
                  <a:cubicBezTo>
                    <a:pt x="234744" y="229190"/>
                    <a:pt x="189309" y="259984"/>
                    <a:pt x="131759" y="259984"/>
                  </a:cubicBezTo>
                  <a:cubicBezTo>
                    <a:pt x="59569" y="259984"/>
                    <a:pt x="0" y="212531"/>
                    <a:pt x="0" y="130244"/>
                  </a:cubicBezTo>
                  <a:cubicBezTo>
                    <a:pt x="0" y="50987"/>
                    <a:pt x="60074" y="0"/>
                    <a:pt x="132264" y="0"/>
                  </a:cubicBezTo>
                  <a:close/>
                  <a:moveTo>
                    <a:pt x="132264" y="8582"/>
                  </a:moveTo>
                  <a:cubicBezTo>
                    <a:pt x="106013" y="8582"/>
                    <a:pt x="92888" y="48463"/>
                    <a:pt x="91878" y="108032"/>
                  </a:cubicBezTo>
                  <a:lnTo>
                    <a:pt x="165078" y="108032"/>
                  </a:lnTo>
                  <a:cubicBezTo>
                    <a:pt x="165078" y="51492"/>
                    <a:pt x="161039" y="8582"/>
                    <a:pt x="132264" y="858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6" name="TextBox 15"/>
            <p:cNvSpPr txBox="1">
              <a:spLocks/>
            </p:cNvSpPr>
            <p:nvPr/>
          </p:nvSpPr>
          <p:spPr>
            <a:xfrm>
              <a:off x="1727626" y="5490962"/>
              <a:ext cx="97129" cy="172281"/>
            </a:xfrm>
            <a:custGeom>
              <a:avLst/>
              <a:gdLst/>
              <a:ahLst/>
              <a:cxnLst/>
              <a:rect l="l" t="t" r="r" b="b"/>
              <a:pathLst>
                <a:path w="140846" h="249888">
                  <a:moveTo>
                    <a:pt x="0" y="0"/>
                  </a:moveTo>
                  <a:lnTo>
                    <a:pt x="117119" y="0"/>
                  </a:lnTo>
                  <a:lnTo>
                    <a:pt x="117119" y="194862"/>
                  </a:lnTo>
                  <a:cubicBezTo>
                    <a:pt x="117119" y="228181"/>
                    <a:pt x="118633" y="234743"/>
                    <a:pt x="140846" y="248878"/>
                  </a:cubicBezTo>
                  <a:lnTo>
                    <a:pt x="140846" y="249888"/>
                  </a:lnTo>
                  <a:lnTo>
                    <a:pt x="3029" y="249888"/>
                  </a:lnTo>
                  <a:lnTo>
                    <a:pt x="3029" y="248878"/>
                  </a:lnTo>
                  <a:cubicBezTo>
                    <a:pt x="25241" y="234743"/>
                    <a:pt x="26755" y="228181"/>
                    <a:pt x="26755" y="194862"/>
                  </a:cubicBezTo>
                  <a:lnTo>
                    <a:pt x="26755" y="56035"/>
                  </a:lnTo>
                  <a:cubicBezTo>
                    <a:pt x="26755" y="21707"/>
                    <a:pt x="23726" y="14640"/>
                    <a:pt x="0" y="1009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7" name="TextBox 16"/>
            <p:cNvSpPr txBox="1">
              <a:spLocks/>
            </p:cNvSpPr>
            <p:nvPr/>
          </p:nvSpPr>
          <p:spPr>
            <a:xfrm>
              <a:off x="1909962" y="5713507"/>
              <a:ext cx="223154" cy="250591"/>
            </a:xfrm>
            <a:custGeom>
              <a:avLst/>
              <a:gdLst/>
              <a:ahLst/>
              <a:cxnLst/>
              <a:rect l="l" t="t" r="r" b="b"/>
              <a:pathLst>
                <a:path w="323593" h="363474">
                  <a:moveTo>
                    <a:pt x="190319" y="0"/>
                  </a:moveTo>
                  <a:cubicBezTo>
                    <a:pt x="236258" y="0"/>
                    <a:pt x="260994" y="15145"/>
                    <a:pt x="277653" y="15145"/>
                  </a:cubicBezTo>
                  <a:cubicBezTo>
                    <a:pt x="291284" y="15145"/>
                    <a:pt x="299866" y="9087"/>
                    <a:pt x="310467" y="0"/>
                  </a:cubicBezTo>
                  <a:lnTo>
                    <a:pt x="314001" y="120149"/>
                  </a:lnTo>
                  <a:lnTo>
                    <a:pt x="312991" y="120149"/>
                  </a:lnTo>
                  <a:cubicBezTo>
                    <a:pt x="287750" y="56541"/>
                    <a:pt x="250393" y="11107"/>
                    <a:pt x="199910" y="11107"/>
                  </a:cubicBezTo>
                  <a:cubicBezTo>
                    <a:pt x="137312" y="11107"/>
                    <a:pt x="101974" y="80268"/>
                    <a:pt x="101974" y="164573"/>
                  </a:cubicBezTo>
                  <a:cubicBezTo>
                    <a:pt x="101974" y="260490"/>
                    <a:pt x="155486" y="315011"/>
                    <a:pt x="221113" y="315011"/>
                  </a:cubicBezTo>
                  <a:cubicBezTo>
                    <a:pt x="263014" y="315011"/>
                    <a:pt x="297846" y="300371"/>
                    <a:pt x="320564" y="252918"/>
                  </a:cubicBezTo>
                  <a:lnTo>
                    <a:pt x="323593" y="253927"/>
                  </a:lnTo>
                  <a:cubicBezTo>
                    <a:pt x="306428" y="321574"/>
                    <a:pt x="252412" y="363474"/>
                    <a:pt x="173660" y="363474"/>
                  </a:cubicBezTo>
                  <a:cubicBezTo>
                    <a:pt x="74209" y="363474"/>
                    <a:pt x="0" y="293304"/>
                    <a:pt x="0" y="186786"/>
                  </a:cubicBezTo>
                  <a:cubicBezTo>
                    <a:pt x="0" y="76229"/>
                    <a:pt x="85820" y="0"/>
                    <a:pt x="190319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8" name="TextBox 17"/>
            <p:cNvSpPr txBox="1">
              <a:spLocks/>
            </p:cNvSpPr>
            <p:nvPr/>
          </p:nvSpPr>
          <p:spPr>
            <a:xfrm>
              <a:off x="2422311" y="5713507"/>
              <a:ext cx="250308" cy="250591"/>
            </a:xfrm>
            <a:custGeom>
              <a:avLst/>
              <a:gdLst/>
              <a:ahLst/>
              <a:cxnLst/>
              <a:rect l="l" t="t" r="r" b="b"/>
              <a:pathLst>
                <a:path w="362969" h="363474">
                  <a:moveTo>
                    <a:pt x="181737" y="0"/>
                  </a:moveTo>
                  <a:cubicBezTo>
                    <a:pt x="285731" y="0"/>
                    <a:pt x="362969" y="75724"/>
                    <a:pt x="362969" y="181737"/>
                  </a:cubicBezTo>
                  <a:cubicBezTo>
                    <a:pt x="362969" y="287751"/>
                    <a:pt x="285731" y="363474"/>
                    <a:pt x="181737" y="363474"/>
                  </a:cubicBezTo>
                  <a:cubicBezTo>
                    <a:pt x="77238" y="363474"/>
                    <a:pt x="0" y="287751"/>
                    <a:pt x="0" y="181737"/>
                  </a:cubicBezTo>
                  <a:cubicBezTo>
                    <a:pt x="0" y="75724"/>
                    <a:pt x="77238" y="0"/>
                    <a:pt x="181737" y="0"/>
                  </a:cubicBezTo>
                  <a:close/>
                  <a:moveTo>
                    <a:pt x="181737" y="10097"/>
                  </a:moveTo>
                  <a:cubicBezTo>
                    <a:pt x="123682" y="10097"/>
                    <a:pt x="103994" y="70676"/>
                    <a:pt x="103994" y="181737"/>
                  </a:cubicBezTo>
                  <a:cubicBezTo>
                    <a:pt x="103994" y="292799"/>
                    <a:pt x="123682" y="353378"/>
                    <a:pt x="181737" y="353378"/>
                  </a:cubicBezTo>
                  <a:cubicBezTo>
                    <a:pt x="239287" y="353378"/>
                    <a:pt x="258975" y="292799"/>
                    <a:pt x="258975" y="181737"/>
                  </a:cubicBezTo>
                  <a:cubicBezTo>
                    <a:pt x="258975" y="70676"/>
                    <a:pt x="239287" y="10097"/>
                    <a:pt x="181737" y="1009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9" name="TextBox 18"/>
            <p:cNvSpPr txBox="1">
              <a:spLocks/>
            </p:cNvSpPr>
            <p:nvPr/>
          </p:nvSpPr>
          <p:spPr>
            <a:xfrm>
              <a:off x="2148125" y="5713855"/>
              <a:ext cx="257619" cy="246763"/>
            </a:xfrm>
            <a:custGeom>
              <a:avLst/>
              <a:gdLst/>
              <a:ahLst/>
              <a:cxnLst/>
              <a:rect l="l" t="t" r="r" b="b"/>
              <a:pathLst>
                <a:path w="373571" h="357921">
                  <a:moveTo>
                    <a:pt x="17164" y="0"/>
                  </a:moveTo>
                  <a:cubicBezTo>
                    <a:pt x="24232" y="3534"/>
                    <a:pt x="35338" y="4544"/>
                    <a:pt x="52502" y="4544"/>
                  </a:cubicBezTo>
                  <a:lnTo>
                    <a:pt x="321069" y="4544"/>
                  </a:lnTo>
                  <a:cubicBezTo>
                    <a:pt x="338233" y="4544"/>
                    <a:pt x="349339" y="3534"/>
                    <a:pt x="356407" y="0"/>
                  </a:cubicBezTo>
                  <a:lnTo>
                    <a:pt x="373571" y="119644"/>
                  </a:lnTo>
                  <a:lnTo>
                    <a:pt x="372561" y="119644"/>
                  </a:lnTo>
                  <a:cubicBezTo>
                    <a:pt x="329651" y="50988"/>
                    <a:pt x="309963" y="17669"/>
                    <a:pt x="255946" y="17669"/>
                  </a:cubicBezTo>
                  <a:lnTo>
                    <a:pt x="234239" y="17669"/>
                  </a:lnTo>
                  <a:lnTo>
                    <a:pt x="234239" y="297847"/>
                  </a:lnTo>
                  <a:cubicBezTo>
                    <a:pt x="234239" y="331165"/>
                    <a:pt x="240802" y="342272"/>
                    <a:pt x="263014" y="356912"/>
                  </a:cubicBezTo>
                  <a:lnTo>
                    <a:pt x="263014" y="357921"/>
                  </a:lnTo>
                  <a:lnTo>
                    <a:pt x="110557" y="357921"/>
                  </a:lnTo>
                  <a:lnTo>
                    <a:pt x="110557" y="356912"/>
                  </a:lnTo>
                  <a:cubicBezTo>
                    <a:pt x="133274" y="342272"/>
                    <a:pt x="139332" y="331165"/>
                    <a:pt x="139332" y="297847"/>
                  </a:cubicBezTo>
                  <a:lnTo>
                    <a:pt x="139332" y="17669"/>
                  </a:lnTo>
                  <a:lnTo>
                    <a:pt x="117624" y="17669"/>
                  </a:lnTo>
                  <a:cubicBezTo>
                    <a:pt x="63608" y="17669"/>
                    <a:pt x="43920" y="50988"/>
                    <a:pt x="1010" y="119644"/>
                  </a:cubicBezTo>
                  <a:lnTo>
                    <a:pt x="0" y="119644"/>
                  </a:lnTo>
                  <a:lnTo>
                    <a:pt x="171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grpSp>
          <p:nvGrpSpPr>
            <p:cNvPr id="25" name="Group 24"/>
            <p:cNvGrpSpPr/>
            <p:nvPr/>
          </p:nvGrpSpPr>
          <p:grpSpPr>
            <a:xfrm>
              <a:off x="1465810" y="5723666"/>
              <a:ext cx="414429" cy="91688"/>
              <a:chOff x="1465428" y="5723666"/>
              <a:chExt cx="414321" cy="91688"/>
            </a:xfrm>
          </p:grpSpPr>
          <p:sp>
            <p:nvSpPr>
              <p:cNvPr id="20" name="TextBox 19"/>
              <p:cNvSpPr txBox="1">
                <a:spLocks/>
              </p:cNvSpPr>
              <p:nvPr/>
            </p:nvSpPr>
            <p:spPr>
              <a:xfrm>
                <a:off x="1465428" y="5723666"/>
                <a:ext cx="90135" cy="91688"/>
              </a:xfrm>
              <a:custGeom>
                <a:avLst/>
                <a:gdLst/>
                <a:ahLst/>
                <a:cxnLst/>
                <a:rect l="l" t="t" r="r" b="b"/>
                <a:pathLst>
                  <a:path w="130738" h="132991">
                    <a:moveTo>
                      <a:pt x="65709" y="0"/>
                    </a:moveTo>
                    <a:cubicBezTo>
                      <a:pt x="86122" y="0"/>
                      <a:pt x="102063" y="5891"/>
                      <a:pt x="113533" y="17673"/>
                    </a:cubicBezTo>
                    <a:cubicBezTo>
                      <a:pt x="125003" y="29455"/>
                      <a:pt x="130738" y="45715"/>
                      <a:pt x="130738" y="66451"/>
                    </a:cubicBezTo>
                    <a:cubicBezTo>
                      <a:pt x="130738" y="87129"/>
                      <a:pt x="124987" y="103389"/>
                      <a:pt x="113485" y="115230"/>
                    </a:cubicBezTo>
                    <a:cubicBezTo>
                      <a:pt x="101982" y="127071"/>
                      <a:pt x="85992" y="132991"/>
                      <a:pt x="65515" y="132991"/>
                    </a:cubicBezTo>
                    <a:cubicBezTo>
                      <a:pt x="44584" y="132991"/>
                      <a:pt x="28432" y="127174"/>
                      <a:pt x="17059" y="115539"/>
                    </a:cubicBezTo>
                    <a:cubicBezTo>
                      <a:pt x="5686" y="103904"/>
                      <a:pt x="0" y="87483"/>
                      <a:pt x="0" y="66275"/>
                    </a:cubicBezTo>
                    <a:cubicBezTo>
                      <a:pt x="0" y="45243"/>
                      <a:pt x="5702" y="28940"/>
                      <a:pt x="17107" y="17364"/>
                    </a:cubicBezTo>
                    <a:cubicBezTo>
                      <a:pt x="28513" y="5788"/>
                      <a:pt x="44713" y="0"/>
                      <a:pt x="65709" y="0"/>
                    </a:cubicBezTo>
                    <a:close/>
                    <a:moveTo>
                      <a:pt x="65709" y="13431"/>
                    </a:moveTo>
                    <a:cubicBezTo>
                      <a:pt x="49962" y="13431"/>
                      <a:pt x="37990" y="17953"/>
                      <a:pt x="29793" y="26996"/>
                    </a:cubicBezTo>
                    <a:cubicBezTo>
                      <a:pt x="21595" y="36038"/>
                      <a:pt x="17496" y="49190"/>
                      <a:pt x="17496" y="66451"/>
                    </a:cubicBezTo>
                    <a:cubicBezTo>
                      <a:pt x="17496" y="83948"/>
                      <a:pt x="21595" y="97218"/>
                      <a:pt x="29793" y="106261"/>
                    </a:cubicBezTo>
                    <a:cubicBezTo>
                      <a:pt x="37990" y="115303"/>
                      <a:pt x="49897" y="119825"/>
                      <a:pt x="65515" y="119825"/>
                    </a:cubicBezTo>
                    <a:cubicBezTo>
                      <a:pt x="81262" y="119825"/>
                      <a:pt x="93153" y="115318"/>
                      <a:pt x="101188" y="106305"/>
                    </a:cubicBezTo>
                    <a:cubicBezTo>
                      <a:pt x="109224" y="97291"/>
                      <a:pt x="113242" y="84007"/>
                      <a:pt x="113242" y="66451"/>
                    </a:cubicBezTo>
                    <a:cubicBezTo>
                      <a:pt x="113242" y="49073"/>
                      <a:pt x="109240" y="35891"/>
                      <a:pt x="101237" y="26907"/>
                    </a:cubicBezTo>
                    <a:cubicBezTo>
                      <a:pt x="93234" y="17923"/>
                      <a:pt x="81391" y="13431"/>
                      <a:pt x="65709" y="13431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1" name="TextBox 20"/>
              <p:cNvSpPr txBox="1">
                <a:spLocks/>
              </p:cNvSpPr>
              <p:nvPr/>
            </p:nvSpPr>
            <p:spPr>
              <a:xfrm>
                <a:off x="1569024" y="5725066"/>
                <a:ext cx="54618" cy="89069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60620"/>
                    </a:lnTo>
                    <a:lnTo>
                      <a:pt x="75430" y="60620"/>
                    </a:lnTo>
                    <a:lnTo>
                      <a:pt x="75430" y="73963"/>
                    </a:lnTo>
                    <a:lnTo>
                      <a:pt x="16525" y="73963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2" name="TextBox 21"/>
              <p:cNvSpPr txBox="1">
                <a:spLocks/>
              </p:cNvSpPr>
              <p:nvPr/>
            </p:nvSpPr>
            <p:spPr>
              <a:xfrm>
                <a:off x="1648696" y="5725066"/>
                <a:ext cx="73449" cy="89069"/>
              </a:xfrm>
              <a:custGeom>
                <a:avLst/>
                <a:gdLst/>
                <a:ahLst/>
                <a:cxnLst/>
                <a:rect l="l" t="t" r="r" b="b"/>
                <a:pathLst>
                  <a:path w="106535" h="129192">
                    <a:moveTo>
                      <a:pt x="0" y="0"/>
                    </a:moveTo>
                    <a:lnTo>
                      <a:pt x="106535" y="0"/>
                    </a:lnTo>
                    <a:lnTo>
                      <a:pt x="106535" y="13343"/>
                    </a:lnTo>
                    <a:lnTo>
                      <a:pt x="61530" y="13343"/>
                    </a:lnTo>
                    <a:lnTo>
                      <a:pt x="61530" y="129192"/>
                    </a:lnTo>
                    <a:lnTo>
                      <a:pt x="45005" y="129192"/>
                    </a:lnTo>
                    <a:lnTo>
                      <a:pt x="45005" y="13343"/>
                    </a:lnTo>
                    <a:lnTo>
                      <a:pt x="0" y="1334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3" name="TextBox 22"/>
              <p:cNvSpPr txBox="1">
                <a:spLocks/>
              </p:cNvSpPr>
              <p:nvPr/>
            </p:nvSpPr>
            <p:spPr>
              <a:xfrm>
                <a:off x="1733195" y="5725066"/>
                <a:ext cx="74387" cy="89069"/>
              </a:xfrm>
              <a:custGeom>
                <a:avLst/>
                <a:gdLst/>
                <a:ahLst/>
                <a:cxnLst/>
                <a:rect l="l" t="t" r="r" b="b"/>
                <a:pathLst>
                  <a:path w="107896" h="129192">
                    <a:moveTo>
                      <a:pt x="0" y="0"/>
                    </a:moveTo>
                    <a:lnTo>
                      <a:pt x="16525" y="0"/>
                    </a:lnTo>
                    <a:lnTo>
                      <a:pt x="16525" y="54964"/>
                    </a:lnTo>
                    <a:lnTo>
                      <a:pt x="91371" y="54964"/>
                    </a:lnTo>
                    <a:lnTo>
                      <a:pt x="91371" y="0"/>
                    </a:lnTo>
                    <a:lnTo>
                      <a:pt x="107896" y="0"/>
                    </a:lnTo>
                    <a:lnTo>
                      <a:pt x="107896" y="129192"/>
                    </a:lnTo>
                    <a:lnTo>
                      <a:pt x="91371" y="129192"/>
                    </a:lnTo>
                    <a:lnTo>
                      <a:pt x="91371" y="68396"/>
                    </a:lnTo>
                    <a:lnTo>
                      <a:pt x="16525" y="68396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4" name="TextBox 23"/>
              <p:cNvSpPr txBox="1">
                <a:spLocks/>
              </p:cNvSpPr>
              <p:nvPr/>
            </p:nvSpPr>
            <p:spPr>
              <a:xfrm>
                <a:off x="1825131" y="5725066"/>
                <a:ext cx="54618" cy="89069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54964"/>
                    </a:lnTo>
                    <a:lnTo>
                      <a:pt x="75430" y="54964"/>
                    </a:lnTo>
                    <a:lnTo>
                      <a:pt x="75430" y="68219"/>
                    </a:lnTo>
                    <a:lnTo>
                      <a:pt x="16525" y="68219"/>
                    </a:lnTo>
                    <a:lnTo>
                      <a:pt x="16525" y="115760"/>
                    </a:lnTo>
                    <a:lnTo>
                      <a:pt x="79221" y="115760"/>
                    </a:lnTo>
                    <a:lnTo>
                      <a:pt x="79221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</p:grpSp>
        <p:sp>
          <p:nvSpPr>
            <p:cNvPr id="11" name="Freeform 9"/>
            <p:cNvSpPr>
              <a:spLocks noEditPoints="1"/>
            </p:cNvSpPr>
            <p:nvPr/>
          </p:nvSpPr>
          <p:spPr bwMode="auto">
            <a:xfrm>
              <a:off x="834187" y="5007328"/>
              <a:ext cx="2121961" cy="1172755"/>
            </a:xfrm>
            <a:custGeom>
              <a:avLst/>
              <a:gdLst>
                <a:gd name="T0" fmla="*/ 279 w 326"/>
                <a:gd name="T1" fmla="*/ 180 h 180"/>
                <a:gd name="T2" fmla="*/ 271 w 326"/>
                <a:gd name="T3" fmla="*/ 179 h 180"/>
                <a:gd name="T4" fmla="*/ 45 w 326"/>
                <a:gd name="T5" fmla="*/ 179 h 180"/>
                <a:gd name="T6" fmla="*/ 6 w 326"/>
                <a:gd name="T7" fmla="*/ 153 h 180"/>
                <a:gd name="T8" fmla="*/ 0 w 326"/>
                <a:gd name="T9" fmla="*/ 129 h 180"/>
                <a:gd name="T10" fmla="*/ 32 w 326"/>
                <a:gd name="T11" fmla="*/ 82 h 180"/>
                <a:gd name="T12" fmla="*/ 30 w 326"/>
                <a:gd name="T13" fmla="*/ 70 h 180"/>
                <a:gd name="T14" fmla="*/ 100 w 326"/>
                <a:gd name="T15" fmla="*/ 0 h 180"/>
                <a:gd name="T16" fmla="*/ 154 w 326"/>
                <a:gd name="T17" fmla="*/ 26 h 180"/>
                <a:gd name="T18" fmla="*/ 187 w 326"/>
                <a:gd name="T19" fmla="*/ 16 h 180"/>
                <a:gd name="T20" fmla="*/ 242 w 326"/>
                <a:gd name="T21" fmla="*/ 55 h 180"/>
                <a:gd name="T22" fmla="*/ 245 w 326"/>
                <a:gd name="T23" fmla="*/ 54 h 180"/>
                <a:gd name="T24" fmla="*/ 280 w 326"/>
                <a:gd name="T25" fmla="*/ 85 h 180"/>
                <a:gd name="T26" fmla="*/ 326 w 326"/>
                <a:gd name="T27" fmla="*/ 132 h 180"/>
                <a:gd name="T28" fmla="*/ 279 w 326"/>
                <a:gd name="T29" fmla="*/ 180 h 180"/>
                <a:gd name="T30" fmla="*/ 100 w 326"/>
                <a:gd name="T31" fmla="*/ 4 h 180"/>
                <a:gd name="T32" fmla="*/ 34 w 326"/>
                <a:gd name="T33" fmla="*/ 70 h 180"/>
                <a:gd name="T34" fmla="*/ 36 w 326"/>
                <a:gd name="T35" fmla="*/ 83 h 180"/>
                <a:gd name="T36" fmla="*/ 36 w 326"/>
                <a:gd name="T37" fmla="*/ 85 h 180"/>
                <a:gd name="T38" fmla="*/ 35 w 326"/>
                <a:gd name="T39" fmla="*/ 86 h 180"/>
                <a:gd name="T40" fmla="*/ 4 w 326"/>
                <a:gd name="T41" fmla="*/ 129 h 180"/>
                <a:gd name="T42" fmla="*/ 10 w 326"/>
                <a:gd name="T43" fmla="*/ 151 h 180"/>
                <a:gd name="T44" fmla="*/ 10 w 326"/>
                <a:gd name="T45" fmla="*/ 151 h 180"/>
                <a:gd name="T46" fmla="*/ 45 w 326"/>
                <a:gd name="T47" fmla="*/ 175 h 180"/>
                <a:gd name="T48" fmla="*/ 271 w 326"/>
                <a:gd name="T49" fmla="*/ 175 h 180"/>
                <a:gd name="T50" fmla="*/ 272 w 326"/>
                <a:gd name="T51" fmla="*/ 175 h 180"/>
                <a:gd name="T52" fmla="*/ 279 w 326"/>
                <a:gd name="T53" fmla="*/ 176 h 180"/>
                <a:gd name="T54" fmla="*/ 322 w 326"/>
                <a:gd name="T55" fmla="*/ 132 h 180"/>
                <a:gd name="T56" fmla="*/ 279 w 326"/>
                <a:gd name="T57" fmla="*/ 89 h 180"/>
                <a:gd name="T58" fmla="*/ 278 w 326"/>
                <a:gd name="T59" fmla="*/ 89 h 180"/>
                <a:gd name="T60" fmla="*/ 276 w 326"/>
                <a:gd name="T61" fmla="*/ 89 h 180"/>
                <a:gd name="T62" fmla="*/ 276 w 326"/>
                <a:gd name="T63" fmla="*/ 87 h 180"/>
                <a:gd name="T64" fmla="*/ 245 w 326"/>
                <a:gd name="T65" fmla="*/ 58 h 180"/>
                <a:gd name="T66" fmla="*/ 240 w 326"/>
                <a:gd name="T67" fmla="*/ 59 h 180"/>
                <a:gd name="T68" fmla="*/ 239 w 326"/>
                <a:gd name="T69" fmla="*/ 59 h 180"/>
                <a:gd name="T70" fmla="*/ 238 w 326"/>
                <a:gd name="T71" fmla="*/ 57 h 180"/>
                <a:gd name="T72" fmla="*/ 187 w 326"/>
                <a:gd name="T73" fmla="*/ 20 h 180"/>
                <a:gd name="T74" fmla="*/ 155 w 326"/>
                <a:gd name="T75" fmla="*/ 30 h 180"/>
                <a:gd name="T76" fmla="*/ 153 w 326"/>
                <a:gd name="T77" fmla="*/ 31 h 180"/>
                <a:gd name="T78" fmla="*/ 152 w 326"/>
                <a:gd name="T79" fmla="*/ 30 h 180"/>
                <a:gd name="T80" fmla="*/ 100 w 326"/>
                <a:gd name="T81" fmla="*/ 4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26" h="180">
                  <a:moveTo>
                    <a:pt x="279" y="180"/>
                  </a:moveTo>
                  <a:cubicBezTo>
                    <a:pt x="276" y="180"/>
                    <a:pt x="274" y="179"/>
                    <a:pt x="271" y="179"/>
                  </a:cubicBezTo>
                  <a:cubicBezTo>
                    <a:pt x="45" y="179"/>
                    <a:pt x="45" y="179"/>
                    <a:pt x="45" y="179"/>
                  </a:cubicBezTo>
                  <a:cubicBezTo>
                    <a:pt x="28" y="179"/>
                    <a:pt x="13" y="169"/>
                    <a:pt x="6" y="153"/>
                  </a:cubicBezTo>
                  <a:cubicBezTo>
                    <a:pt x="2" y="146"/>
                    <a:pt x="0" y="137"/>
                    <a:pt x="0" y="129"/>
                  </a:cubicBezTo>
                  <a:cubicBezTo>
                    <a:pt x="0" y="109"/>
                    <a:pt x="13" y="90"/>
                    <a:pt x="32" y="82"/>
                  </a:cubicBezTo>
                  <a:cubicBezTo>
                    <a:pt x="31" y="78"/>
                    <a:pt x="30" y="74"/>
                    <a:pt x="30" y="70"/>
                  </a:cubicBezTo>
                  <a:cubicBezTo>
                    <a:pt x="30" y="32"/>
                    <a:pt x="62" y="0"/>
                    <a:pt x="100" y="0"/>
                  </a:cubicBezTo>
                  <a:cubicBezTo>
                    <a:pt x="121" y="0"/>
                    <a:pt x="141" y="10"/>
                    <a:pt x="154" y="26"/>
                  </a:cubicBezTo>
                  <a:cubicBezTo>
                    <a:pt x="164" y="19"/>
                    <a:pt x="175" y="16"/>
                    <a:pt x="187" y="16"/>
                  </a:cubicBezTo>
                  <a:cubicBezTo>
                    <a:pt x="212" y="16"/>
                    <a:pt x="233" y="31"/>
                    <a:pt x="242" y="55"/>
                  </a:cubicBezTo>
                  <a:cubicBezTo>
                    <a:pt x="243" y="54"/>
                    <a:pt x="244" y="54"/>
                    <a:pt x="245" y="54"/>
                  </a:cubicBezTo>
                  <a:cubicBezTo>
                    <a:pt x="263" y="54"/>
                    <a:pt x="278" y="68"/>
                    <a:pt x="280" y="85"/>
                  </a:cubicBezTo>
                  <a:cubicBezTo>
                    <a:pt x="305" y="86"/>
                    <a:pt x="326" y="107"/>
                    <a:pt x="326" y="132"/>
                  </a:cubicBezTo>
                  <a:cubicBezTo>
                    <a:pt x="326" y="158"/>
                    <a:pt x="305" y="180"/>
                    <a:pt x="279" y="180"/>
                  </a:cubicBezTo>
                  <a:close/>
                  <a:moveTo>
                    <a:pt x="100" y="4"/>
                  </a:moveTo>
                  <a:cubicBezTo>
                    <a:pt x="64" y="4"/>
                    <a:pt x="34" y="34"/>
                    <a:pt x="34" y="70"/>
                  </a:cubicBezTo>
                  <a:cubicBezTo>
                    <a:pt x="34" y="75"/>
                    <a:pt x="35" y="79"/>
                    <a:pt x="36" y="83"/>
                  </a:cubicBezTo>
                  <a:cubicBezTo>
                    <a:pt x="36" y="85"/>
                    <a:pt x="36" y="85"/>
                    <a:pt x="36" y="85"/>
                  </a:cubicBezTo>
                  <a:cubicBezTo>
                    <a:pt x="35" y="86"/>
                    <a:pt x="35" y="86"/>
                    <a:pt x="35" y="86"/>
                  </a:cubicBezTo>
                  <a:cubicBezTo>
                    <a:pt x="16" y="92"/>
                    <a:pt x="4" y="110"/>
                    <a:pt x="4" y="129"/>
                  </a:cubicBezTo>
                  <a:cubicBezTo>
                    <a:pt x="4" y="137"/>
                    <a:pt x="6" y="144"/>
                    <a:pt x="10" y="151"/>
                  </a:cubicBezTo>
                  <a:cubicBezTo>
                    <a:pt x="10" y="151"/>
                    <a:pt x="10" y="151"/>
                    <a:pt x="10" y="151"/>
                  </a:cubicBezTo>
                  <a:cubicBezTo>
                    <a:pt x="16" y="166"/>
                    <a:pt x="30" y="175"/>
                    <a:pt x="45" y="175"/>
                  </a:cubicBezTo>
                  <a:cubicBezTo>
                    <a:pt x="271" y="175"/>
                    <a:pt x="271" y="175"/>
                    <a:pt x="271" y="175"/>
                  </a:cubicBezTo>
                  <a:cubicBezTo>
                    <a:pt x="272" y="175"/>
                    <a:pt x="272" y="175"/>
                    <a:pt x="272" y="175"/>
                  </a:cubicBezTo>
                  <a:cubicBezTo>
                    <a:pt x="274" y="175"/>
                    <a:pt x="276" y="176"/>
                    <a:pt x="279" y="176"/>
                  </a:cubicBezTo>
                  <a:cubicBezTo>
                    <a:pt x="303" y="176"/>
                    <a:pt x="322" y="156"/>
                    <a:pt x="322" y="132"/>
                  </a:cubicBezTo>
                  <a:cubicBezTo>
                    <a:pt x="322" y="109"/>
                    <a:pt x="303" y="89"/>
                    <a:pt x="279" y="89"/>
                  </a:cubicBezTo>
                  <a:cubicBezTo>
                    <a:pt x="279" y="89"/>
                    <a:pt x="278" y="89"/>
                    <a:pt x="278" y="89"/>
                  </a:cubicBezTo>
                  <a:cubicBezTo>
                    <a:pt x="276" y="89"/>
                    <a:pt x="276" y="89"/>
                    <a:pt x="276" y="89"/>
                  </a:cubicBezTo>
                  <a:cubicBezTo>
                    <a:pt x="276" y="87"/>
                    <a:pt x="276" y="87"/>
                    <a:pt x="276" y="87"/>
                  </a:cubicBezTo>
                  <a:cubicBezTo>
                    <a:pt x="275" y="71"/>
                    <a:pt x="261" y="58"/>
                    <a:pt x="245" y="58"/>
                  </a:cubicBezTo>
                  <a:cubicBezTo>
                    <a:pt x="243" y="58"/>
                    <a:pt x="242" y="59"/>
                    <a:pt x="240" y="59"/>
                  </a:cubicBezTo>
                  <a:cubicBezTo>
                    <a:pt x="239" y="59"/>
                    <a:pt x="239" y="59"/>
                    <a:pt x="239" y="59"/>
                  </a:cubicBezTo>
                  <a:cubicBezTo>
                    <a:pt x="238" y="57"/>
                    <a:pt x="238" y="57"/>
                    <a:pt x="238" y="57"/>
                  </a:cubicBezTo>
                  <a:cubicBezTo>
                    <a:pt x="231" y="35"/>
                    <a:pt x="210" y="20"/>
                    <a:pt x="187" y="20"/>
                  </a:cubicBezTo>
                  <a:cubicBezTo>
                    <a:pt x="175" y="20"/>
                    <a:pt x="164" y="23"/>
                    <a:pt x="155" y="30"/>
                  </a:cubicBezTo>
                  <a:cubicBezTo>
                    <a:pt x="153" y="31"/>
                    <a:pt x="153" y="31"/>
                    <a:pt x="153" y="31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39" y="14"/>
                    <a:pt x="121" y="4"/>
                    <a:pt x="100" y="4"/>
                  </a:cubicBezTo>
                  <a:close/>
                </a:path>
              </a:pathLst>
            </a:custGeom>
            <a:solidFill>
              <a:srgbClr val="34697F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26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4078427" y="5460984"/>
            <a:ext cx="2844943" cy="431800"/>
          </a:xfrm>
          <a:prstGeom prst="rect">
            <a:avLst/>
          </a:prstGeom>
        </p:spPr>
        <p:txBody>
          <a:bodyPr rIns="0" anchor="b"/>
          <a:lstStyle>
            <a:lvl1pPr algn="r">
              <a:defRPr sz="1200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Presenter Name</a:t>
            </a:r>
            <a:endParaRPr lang="tr-TR" dirty="0"/>
          </a:p>
        </p:txBody>
      </p:sp>
      <p:sp>
        <p:nvSpPr>
          <p:cNvPr id="27" name="Title 1"/>
          <p:cNvSpPr>
            <a:spLocks noGrp="1"/>
          </p:cNvSpPr>
          <p:nvPr>
            <p:ph type="ctrTitle" hasCustomPrompt="1"/>
          </p:nvPr>
        </p:nvSpPr>
        <p:spPr>
          <a:xfrm>
            <a:off x="822960" y="640080"/>
            <a:ext cx="5585018" cy="2630356"/>
          </a:xfrm>
          <a:prstGeom prst="rect">
            <a:avLst/>
          </a:prstGeom>
        </p:spPr>
        <p:txBody>
          <a:bodyPr lIns="0" anchor="t"/>
          <a:lstStyle>
            <a:lvl1pPr algn="l">
              <a:lnSpc>
                <a:spcPct val="80000"/>
              </a:lnSpc>
              <a:defRPr sz="7200"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over Slide Title</a:t>
            </a:r>
          </a:p>
        </p:txBody>
      </p:sp>
      <p:sp>
        <p:nvSpPr>
          <p:cNvPr id="30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822960" y="3383280"/>
            <a:ext cx="5578857" cy="431800"/>
          </a:xfrm>
          <a:prstGeom prst="rect">
            <a:avLst/>
          </a:prstGeom>
        </p:spPr>
        <p:txBody>
          <a:bodyPr lIns="0" anchor="ctr" anchorCtr="0"/>
          <a:lstStyle>
            <a:lvl1pPr algn="l">
              <a:defRPr sz="2400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econd Level Title</a:t>
            </a:r>
            <a:endParaRPr lang="tr-TR" dirty="0"/>
          </a:p>
        </p:txBody>
      </p:sp>
      <p:sp>
        <p:nvSpPr>
          <p:cNvPr id="31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078427" y="5892928"/>
            <a:ext cx="2844943" cy="431800"/>
          </a:xfrm>
          <a:prstGeom prst="rect">
            <a:avLst/>
          </a:prstGeom>
        </p:spPr>
        <p:txBody>
          <a:bodyPr rIns="0" anchor="b"/>
          <a:lstStyle>
            <a:lvl1pPr algn="r">
              <a:defRPr sz="1800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Date</a:t>
            </a:r>
            <a:endParaRPr lang="tr-TR" dirty="0"/>
          </a:p>
        </p:txBody>
      </p:sp>
      <p:sp>
        <p:nvSpPr>
          <p:cNvPr id="32" name="Picture Placeholder 5"/>
          <p:cNvSpPr>
            <a:spLocks noGrp="1"/>
          </p:cNvSpPr>
          <p:nvPr>
            <p:ph type="pic" sz="quarter" idx="14" hasCustomPrompt="1"/>
          </p:nvPr>
        </p:nvSpPr>
        <p:spPr>
          <a:xfrm>
            <a:off x="7751365" y="0"/>
            <a:ext cx="4440635" cy="3283083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algn="ctr">
              <a:defRPr sz="320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xmlns="" id="{18E5268C-C141-4840-9D00-CD333097B788}"/>
              </a:ext>
            </a:extLst>
          </p:cNvPr>
          <p:cNvSpPr/>
          <p:nvPr userDrawn="1"/>
        </p:nvSpPr>
        <p:spPr>
          <a:xfrm>
            <a:off x="7749346" y="3314331"/>
            <a:ext cx="4442653" cy="529933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64008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85000"/>
              </a:lnSpc>
            </a:pPr>
            <a:endParaRPr lang="en-US" sz="1600" b="1" dirty="0">
              <a:solidFill>
                <a:schemeClr val="accent2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3" name="Rectangle 32"/>
          <p:cNvSpPr/>
          <p:nvPr userDrawn="1"/>
        </p:nvSpPr>
        <p:spPr>
          <a:xfrm>
            <a:off x="7749346" y="3283084"/>
            <a:ext cx="4442654" cy="74842"/>
          </a:xfrm>
          <a:prstGeom prst="rect">
            <a:avLst/>
          </a:prstGeom>
          <a:solidFill>
            <a:srgbClr val="043B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4" name="Rectangle 33"/>
          <p:cNvSpPr/>
          <p:nvPr userDrawn="1"/>
        </p:nvSpPr>
        <p:spPr>
          <a:xfrm>
            <a:off x="7749345" y="3799295"/>
            <a:ext cx="4442654" cy="74842"/>
          </a:xfrm>
          <a:prstGeom prst="rect">
            <a:avLst/>
          </a:prstGeom>
          <a:solidFill>
            <a:srgbClr val="043B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6" name="Text Placeholder 35"/>
          <p:cNvSpPr>
            <a:spLocks noGrp="1"/>
          </p:cNvSpPr>
          <p:nvPr>
            <p:ph type="body" sz="quarter" idx="15" hasCustomPrompt="1"/>
          </p:nvPr>
        </p:nvSpPr>
        <p:spPr>
          <a:xfrm>
            <a:off x="7749344" y="3374405"/>
            <a:ext cx="4442656" cy="438517"/>
          </a:xfrm>
          <a:prstGeom prst="rect">
            <a:avLst/>
          </a:prstGeom>
        </p:spPr>
        <p:txBody>
          <a:bodyPr anchor="ctr"/>
          <a:lstStyle>
            <a:lvl1pPr marL="0" algn="ctr" defTabSz="914400" rtl="0" eaLnBrk="1" latinLnBrk="0" hangingPunct="1">
              <a:lnSpc>
                <a:spcPct val="85000"/>
              </a:lnSpc>
              <a:defRPr lang="en-US" sz="1600" b="1" kern="1200" dirty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&lt;DIVISION NAME&gt;</a:t>
            </a:r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xmlns="" id="{0860573B-7502-4EE6-AE67-B3B2FFD71F32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9472900" y="5931510"/>
            <a:ext cx="2192529" cy="292877"/>
            <a:chOff x="279400" y="2781300"/>
            <a:chExt cx="8585200" cy="1092200"/>
          </a:xfrm>
        </p:grpSpPr>
        <p:sp>
          <p:nvSpPr>
            <p:cNvPr id="37" name="Freeform 5">
              <a:extLst>
                <a:ext uri="{FF2B5EF4-FFF2-40B4-BE49-F238E27FC236}">
                  <a16:creationId xmlns:a16="http://schemas.microsoft.com/office/drawing/2014/main" xmlns="" id="{264CBBCF-7D70-4513-96B2-BDE78A1BE2AC}"/>
                </a:ext>
              </a:extLst>
            </p:cNvPr>
            <p:cNvSpPr>
              <a:spLocks/>
            </p:cNvSpPr>
            <p:nvPr/>
          </p:nvSpPr>
          <p:spPr bwMode="auto">
            <a:xfrm>
              <a:off x="4605338" y="2816225"/>
              <a:ext cx="958850" cy="1035050"/>
            </a:xfrm>
            <a:custGeom>
              <a:avLst/>
              <a:gdLst>
                <a:gd name="T0" fmla="*/ 142 w 604"/>
                <a:gd name="T1" fmla="*/ 272 h 652"/>
                <a:gd name="T2" fmla="*/ 142 w 604"/>
                <a:gd name="T3" fmla="*/ 57 h 652"/>
                <a:gd name="T4" fmla="*/ 206 w 604"/>
                <a:gd name="T5" fmla="*/ 57 h 652"/>
                <a:gd name="T6" fmla="*/ 206 w 604"/>
                <a:gd name="T7" fmla="*/ 0 h 652"/>
                <a:gd name="T8" fmla="*/ 0 w 604"/>
                <a:gd name="T9" fmla="*/ 0 h 652"/>
                <a:gd name="T10" fmla="*/ 0 w 604"/>
                <a:gd name="T11" fmla="*/ 57 h 652"/>
                <a:gd name="T12" fmla="*/ 64 w 604"/>
                <a:gd name="T13" fmla="*/ 57 h 652"/>
                <a:gd name="T14" fmla="*/ 64 w 604"/>
                <a:gd name="T15" fmla="*/ 587 h 652"/>
                <a:gd name="T16" fmla="*/ 0 w 604"/>
                <a:gd name="T17" fmla="*/ 587 h 652"/>
                <a:gd name="T18" fmla="*/ 0 w 604"/>
                <a:gd name="T19" fmla="*/ 652 h 652"/>
                <a:gd name="T20" fmla="*/ 206 w 604"/>
                <a:gd name="T21" fmla="*/ 652 h 652"/>
                <a:gd name="T22" fmla="*/ 206 w 604"/>
                <a:gd name="T23" fmla="*/ 587 h 652"/>
                <a:gd name="T24" fmla="*/ 142 w 604"/>
                <a:gd name="T25" fmla="*/ 587 h 652"/>
                <a:gd name="T26" fmla="*/ 142 w 604"/>
                <a:gd name="T27" fmla="*/ 329 h 652"/>
                <a:gd name="T28" fmla="*/ 462 w 604"/>
                <a:gd name="T29" fmla="*/ 329 h 652"/>
                <a:gd name="T30" fmla="*/ 462 w 604"/>
                <a:gd name="T31" fmla="*/ 587 h 652"/>
                <a:gd name="T32" fmla="*/ 398 w 604"/>
                <a:gd name="T33" fmla="*/ 587 h 652"/>
                <a:gd name="T34" fmla="*/ 398 w 604"/>
                <a:gd name="T35" fmla="*/ 652 h 652"/>
                <a:gd name="T36" fmla="*/ 604 w 604"/>
                <a:gd name="T37" fmla="*/ 652 h 652"/>
                <a:gd name="T38" fmla="*/ 604 w 604"/>
                <a:gd name="T39" fmla="*/ 587 h 652"/>
                <a:gd name="T40" fmla="*/ 540 w 604"/>
                <a:gd name="T41" fmla="*/ 587 h 652"/>
                <a:gd name="T42" fmla="*/ 540 w 604"/>
                <a:gd name="T43" fmla="*/ 57 h 652"/>
                <a:gd name="T44" fmla="*/ 604 w 604"/>
                <a:gd name="T45" fmla="*/ 57 h 652"/>
                <a:gd name="T46" fmla="*/ 604 w 604"/>
                <a:gd name="T47" fmla="*/ 0 h 652"/>
                <a:gd name="T48" fmla="*/ 398 w 604"/>
                <a:gd name="T49" fmla="*/ 0 h 652"/>
                <a:gd name="T50" fmla="*/ 398 w 604"/>
                <a:gd name="T51" fmla="*/ 57 h 652"/>
                <a:gd name="T52" fmla="*/ 462 w 604"/>
                <a:gd name="T53" fmla="*/ 57 h 652"/>
                <a:gd name="T54" fmla="*/ 462 w 604"/>
                <a:gd name="T55" fmla="*/ 272 h 652"/>
                <a:gd name="T56" fmla="*/ 142 w 604"/>
                <a:gd name="T57" fmla="*/ 272 h 6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604" h="652">
                  <a:moveTo>
                    <a:pt x="142" y="272"/>
                  </a:moveTo>
                  <a:lnTo>
                    <a:pt x="142" y="57"/>
                  </a:lnTo>
                  <a:lnTo>
                    <a:pt x="206" y="57"/>
                  </a:lnTo>
                  <a:lnTo>
                    <a:pt x="206" y="0"/>
                  </a:lnTo>
                  <a:lnTo>
                    <a:pt x="0" y="0"/>
                  </a:lnTo>
                  <a:lnTo>
                    <a:pt x="0" y="57"/>
                  </a:lnTo>
                  <a:lnTo>
                    <a:pt x="64" y="57"/>
                  </a:lnTo>
                  <a:lnTo>
                    <a:pt x="64" y="587"/>
                  </a:lnTo>
                  <a:lnTo>
                    <a:pt x="0" y="587"/>
                  </a:lnTo>
                  <a:lnTo>
                    <a:pt x="0" y="652"/>
                  </a:lnTo>
                  <a:lnTo>
                    <a:pt x="206" y="652"/>
                  </a:lnTo>
                  <a:lnTo>
                    <a:pt x="206" y="587"/>
                  </a:lnTo>
                  <a:lnTo>
                    <a:pt x="142" y="587"/>
                  </a:lnTo>
                  <a:lnTo>
                    <a:pt x="142" y="329"/>
                  </a:lnTo>
                  <a:lnTo>
                    <a:pt x="462" y="329"/>
                  </a:lnTo>
                  <a:lnTo>
                    <a:pt x="462" y="587"/>
                  </a:lnTo>
                  <a:lnTo>
                    <a:pt x="398" y="587"/>
                  </a:lnTo>
                  <a:lnTo>
                    <a:pt x="398" y="652"/>
                  </a:lnTo>
                  <a:lnTo>
                    <a:pt x="604" y="652"/>
                  </a:lnTo>
                  <a:lnTo>
                    <a:pt x="604" y="587"/>
                  </a:lnTo>
                  <a:lnTo>
                    <a:pt x="540" y="587"/>
                  </a:lnTo>
                  <a:lnTo>
                    <a:pt x="540" y="57"/>
                  </a:lnTo>
                  <a:lnTo>
                    <a:pt x="604" y="57"/>
                  </a:lnTo>
                  <a:lnTo>
                    <a:pt x="604" y="0"/>
                  </a:lnTo>
                  <a:lnTo>
                    <a:pt x="398" y="0"/>
                  </a:lnTo>
                  <a:lnTo>
                    <a:pt x="398" y="57"/>
                  </a:lnTo>
                  <a:lnTo>
                    <a:pt x="462" y="57"/>
                  </a:lnTo>
                  <a:lnTo>
                    <a:pt x="462" y="272"/>
                  </a:lnTo>
                  <a:lnTo>
                    <a:pt x="142" y="27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8" name="Freeform 6">
              <a:extLst>
                <a:ext uri="{FF2B5EF4-FFF2-40B4-BE49-F238E27FC236}">
                  <a16:creationId xmlns:a16="http://schemas.microsoft.com/office/drawing/2014/main" xmlns="" id="{CB55B7D8-3723-4CA7-83E2-4ECF2520F18B}"/>
                </a:ext>
              </a:extLst>
            </p:cNvPr>
            <p:cNvSpPr>
              <a:spLocks/>
            </p:cNvSpPr>
            <p:nvPr/>
          </p:nvSpPr>
          <p:spPr bwMode="auto">
            <a:xfrm>
              <a:off x="8042275" y="2816225"/>
              <a:ext cx="822325" cy="1035050"/>
            </a:xfrm>
            <a:custGeom>
              <a:avLst/>
              <a:gdLst>
                <a:gd name="T0" fmla="*/ 27 w 73"/>
                <a:gd name="T1" fmla="*/ 82 h 91"/>
                <a:gd name="T2" fmla="*/ 19 w 73"/>
                <a:gd name="T3" fmla="*/ 82 h 91"/>
                <a:gd name="T4" fmla="*/ 19 w 73"/>
                <a:gd name="T5" fmla="*/ 54 h 91"/>
                <a:gd name="T6" fmla="*/ 37 w 73"/>
                <a:gd name="T7" fmla="*/ 35 h 91"/>
                <a:gd name="T8" fmla="*/ 55 w 73"/>
                <a:gd name="T9" fmla="*/ 54 h 91"/>
                <a:gd name="T10" fmla="*/ 55 w 73"/>
                <a:gd name="T11" fmla="*/ 82 h 91"/>
                <a:gd name="T12" fmla="*/ 46 w 73"/>
                <a:gd name="T13" fmla="*/ 82 h 91"/>
                <a:gd name="T14" fmla="*/ 46 w 73"/>
                <a:gd name="T15" fmla="*/ 91 h 91"/>
                <a:gd name="T16" fmla="*/ 73 w 73"/>
                <a:gd name="T17" fmla="*/ 91 h 91"/>
                <a:gd name="T18" fmla="*/ 73 w 73"/>
                <a:gd name="T19" fmla="*/ 82 h 91"/>
                <a:gd name="T20" fmla="*/ 65 w 73"/>
                <a:gd name="T21" fmla="*/ 82 h 91"/>
                <a:gd name="T22" fmla="*/ 65 w 73"/>
                <a:gd name="T23" fmla="*/ 54 h 91"/>
                <a:gd name="T24" fmla="*/ 38 w 73"/>
                <a:gd name="T25" fmla="*/ 26 h 91"/>
                <a:gd name="T26" fmla="*/ 19 w 73"/>
                <a:gd name="T27" fmla="*/ 35 h 91"/>
                <a:gd name="T28" fmla="*/ 19 w 73"/>
                <a:gd name="T29" fmla="*/ 0 h 91"/>
                <a:gd name="T30" fmla="*/ 0 w 73"/>
                <a:gd name="T31" fmla="*/ 0 h 91"/>
                <a:gd name="T32" fmla="*/ 0 w 73"/>
                <a:gd name="T33" fmla="*/ 8 h 91"/>
                <a:gd name="T34" fmla="*/ 9 w 73"/>
                <a:gd name="T35" fmla="*/ 8 h 91"/>
                <a:gd name="T36" fmla="*/ 9 w 73"/>
                <a:gd name="T37" fmla="*/ 82 h 91"/>
                <a:gd name="T38" fmla="*/ 0 w 73"/>
                <a:gd name="T39" fmla="*/ 82 h 91"/>
                <a:gd name="T40" fmla="*/ 0 w 73"/>
                <a:gd name="T41" fmla="*/ 91 h 91"/>
                <a:gd name="T42" fmla="*/ 27 w 73"/>
                <a:gd name="T43" fmla="*/ 91 h 91"/>
                <a:gd name="T44" fmla="*/ 27 w 73"/>
                <a:gd name="T45" fmla="*/ 82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3" h="91">
                  <a:moveTo>
                    <a:pt x="27" y="82"/>
                  </a:moveTo>
                  <a:cubicBezTo>
                    <a:pt x="19" y="82"/>
                    <a:pt x="19" y="82"/>
                    <a:pt x="19" y="82"/>
                  </a:cubicBezTo>
                  <a:cubicBezTo>
                    <a:pt x="19" y="54"/>
                    <a:pt x="19" y="54"/>
                    <a:pt x="19" y="54"/>
                  </a:cubicBezTo>
                  <a:cubicBezTo>
                    <a:pt x="19" y="41"/>
                    <a:pt x="25" y="35"/>
                    <a:pt x="37" y="35"/>
                  </a:cubicBezTo>
                  <a:cubicBezTo>
                    <a:pt x="48" y="35"/>
                    <a:pt x="55" y="41"/>
                    <a:pt x="55" y="54"/>
                  </a:cubicBezTo>
                  <a:cubicBezTo>
                    <a:pt x="55" y="82"/>
                    <a:pt x="55" y="82"/>
                    <a:pt x="55" y="82"/>
                  </a:cubicBezTo>
                  <a:cubicBezTo>
                    <a:pt x="46" y="82"/>
                    <a:pt x="46" y="82"/>
                    <a:pt x="46" y="82"/>
                  </a:cubicBezTo>
                  <a:cubicBezTo>
                    <a:pt x="46" y="91"/>
                    <a:pt x="46" y="91"/>
                    <a:pt x="46" y="91"/>
                  </a:cubicBezTo>
                  <a:cubicBezTo>
                    <a:pt x="73" y="91"/>
                    <a:pt x="73" y="91"/>
                    <a:pt x="73" y="91"/>
                  </a:cubicBezTo>
                  <a:cubicBezTo>
                    <a:pt x="73" y="82"/>
                    <a:pt x="73" y="82"/>
                    <a:pt x="73" y="82"/>
                  </a:cubicBezTo>
                  <a:cubicBezTo>
                    <a:pt x="65" y="82"/>
                    <a:pt x="65" y="82"/>
                    <a:pt x="65" y="82"/>
                  </a:cubicBezTo>
                  <a:cubicBezTo>
                    <a:pt x="65" y="54"/>
                    <a:pt x="65" y="54"/>
                    <a:pt x="65" y="54"/>
                  </a:cubicBezTo>
                  <a:cubicBezTo>
                    <a:pt x="65" y="39"/>
                    <a:pt x="55" y="26"/>
                    <a:pt x="38" y="26"/>
                  </a:cubicBezTo>
                  <a:cubicBezTo>
                    <a:pt x="30" y="26"/>
                    <a:pt x="23" y="29"/>
                    <a:pt x="19" y="35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82"/>
                    <a:pt x="9" y="82"/>
                    <a:pt x="9" y="82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0" y="91"/>
                    <a:pt x="0" y="91"/>
                    <a:pt x="0" y="91"/>
                  </a:cubicBezTo>
                  <a:cubicBezTo>
                    <a:pt x="27" y="91"/>
                    <a:pt x="27" y="91"/>
                    <a:pt x="27" y="91"/>
                  </a:cubicBezTo>
                  <a:lnTo>
                    <a:pt x="27" y="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9" name="Freeform 7">
              <a:extLst>
                <a:ext uri="{FF2B5EF4-FFF2-40B4-BE49-F238E27FC236}">
                  <a16:creationId xmlns:a16="http://schemas.microsoft.com/office/drawing/2014/main" xmlns="" id="{66826270-096D-4A0F-B57D-78D557210E9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19850" y="3111500"/>
              <a:ext cx="822325" cy="750888"/>
            </a:xfrm>
            <a:custGeom>
              <a:avLst/>
              <a:gdLst>
                <a:gd name="T0" fmla="*/ 73 w 73"/>
                <a:gd name="T1" fmla="*/ 10 h 66"/>
                <a:gd name="T2" fmla="*/ 73 w 73"/>
                <a:gd name="T3" fmla="*/ 2 h 66"/>
                <a:gd name="T4" fmla="*/ 54 w 73"/>
                <a:gd name="T5" fmla="*/ 2 h 66"/>
                <a:gd name="T6" fmla="*/ 54 w 73"/>
                <a:gd name="T7" fmla="*/ 11 h 66"/>
                <a:gd name="T8" fmla="*/ 31 w 73"/>
                <a:gd name="T9" fmla="*/ 0 h 66"/>
                <a:gd name="T10" fmla="*/ 0 w 73"/>
                <a:gd name="T11" fmla="*/ 33 h 66"/>
                <a:gd name="T12" fmla="*/ 31 w 73"/>
                <a:gd name="T13" fmla="*/ 66 h 66"/>
                <a:gd name="T14" fmla="*/ 54 w 73"/>
                <a:gd name="T15" fmla="*/ 55 h 66"/>
                <a:gd name="T16" fmla="*/ 54 w 73"/>
                <a:gd name="T17" fmla="*/ 65 h 66"/>
                <a:gd name="T18" fmla="*/ 73 w 73"/>
                <a:gd name="T19" fmla="*/ 65 h 66"/>
                <a:gd name="T20" fmla="*/ 73 w 73"/>
                <a:gd name="T21" fmla="*/ 56 h 66"/>
                <a:gd name="T22" fmla="*/ 64 w 73"/>
                <a:gd name="T23" fmla="*/ 56 h 66"/>
                <a:gd name="T24" fmla="*/ 64 w 73"/>
                <a:gd name="T25" fmla="*/ 10 h 66"/>
                <a:gd name="T26" fmla="*/ 73 w 73"/>
                <a:gd name="T27" fmla="*/ 10 h 66"/>
                <a:gd name="T28" fmla="*/ 33 w 73"/>
                <a:gd name="T29" fmla="*/ 58 h 66"/>
                <a:gd name="T30" fmla="*/ 11 w 73"/>
                <a:gd name="T31" fmla="*/ 33 h 66"/>
                <a:gd name="T32" fmla="*/ 33 w 73"/>
                <a:gd name="T33" fmla="*/ 9 h 66"/>
                <a:gd name="T34" fmla="*/ 54 w 73"/>
                <a:gd name="T35" fmla="*/ 33 h 66"/>
                <a:gd name="T36" fmla="*/ 33 w 73"/>
                <a:gd name="T37" fmla="*/ 5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3" h="66">
                  <a:moveTo>
                    <a:pt x="73" y="10"/>
                  </a:moveTo>
                  <a:cubicBezTo>
                    <a:pt x="73" y="2"/>
                    <a:pt x="73" y="2"/>
                    <a:pt x="73" y="2"/>
                  </a:cubicBezTo>
                  <a:cubicBezTo>
                    <a:pt x="54" y="2"/>
                    <a:pt x="54" y="2"/>
                    <a:pt x="54" y="2"/>
                  </a:cubicBezTo>
                  <a:cubicBezTo>
                    <a:pt x="54" y="11"/>
                    <a:pt x="54" y="11"/>
                    <a:pt x="54" y="11"/>
                  </a:cubicBezTo>
                  <a:cubicBezTo>
                    <a:pt x="49" y="4"/>
                    <a:pt x="41" y="0"/>
                    <a:pt x="31" y="0"/>
                  </a:cubicBezTo>
                  <a:cubicBezTo>
                    <a:pt x="13" y="0"/>
                    <a:pt x="0" y="14"/>
                    <a:pt x="0" y="33"/>
                  </a:cubicBezTo>
                  <a:cubicBezTo>
                    <a:pt x="0" y="52"/>
                    <a:pt x="13" y="66"/>
                    <a:pt x="31" y="66"/>
                  </a:cubicBezTo>
                  <a:cubicBezTo>
                    <a:pt x="41" y="66"/>
                    <a:pt x="49" y="62"/>
                    <a:pt x="54" y="55"/>
                  </a:cubicBezTo>
                  <a:cubicBezTo>
                    <a:pt x="54" y="65"/>
                    <a:pt x="54" y="65"/>
                    <a:pt x="54" y="65"/>
                  </a:cubicBezTo>
                  <a:cubicBezTo>
                    <a:pt x="73" y="65"/>
                    <a:pt x="73" y="65"/>
                    <a:pt x="73" y="65"/>
                  </a:cubicBezTo>
                  <a:cubicBezTo>
                    <a:pt x="73" y="56"/>
                    <a:pt x="73" y="56"/>
                    <a:pt x="73" y="56"/>
                  </a:cubicBezTo>
                  <a:cubicBezTo>
                    <a:pt x="64" y="56"/>
                    <a:pt x="64" y="56"/>
                    <a:pt x="64" y="56"/>
                  </a:cubicBezTo>
                  <a:cubicBezTo>
                    <a:pt x="64" y="10"/>
                    <a:pt x="64" y="10"/>
                    <a:pt x="64" y="10"/>
                  </a:cubicBezTo>
                  <a:lnTo>
                    <a:pt x="73" y="10"/>
                  </a:lnTo>
                  <a:close/>
                  <a:moveTo>
                    <a:pt x="33" y="58"/>
                  </a:moveTo>
                  <a:cubicBezTo>
                    <a:pt x="20" y="58"/>
                    <a:pt x="11" y="47"/>
                    <a:pt x="11" y="33"/>
                  </a:cubicBezTo>
                  <a:cubicBezTo>
                    <a:pt x="11" y="19"/>
                    <a:pt x="20" y="9"/>
                    <a:pt x="33" y="9"/>
                  </a:cubicBezTo>
                  <a:cubicBezTo>
                    <a:pt x="46" y="9"/>
                    <a:pt x="54" y="19"/>
                    <a:pt x="54" y="33"/>
                  </a:cubicBezTo>
                  <a:cubicBezTo>
                    <a:pt x="54" y="47"/>
                    <a:pt x="46" y="58"/>
                    <a:pt x="33" y="58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0" name="Freeform 8">
              <a:extLst>
                <a:ext uri="{FF2B5EF4-FFF2-40B4-BE49-F238E27FC236}">
                  <a16:creationId xmlns:a16="http://schemas.microsoft.com/office/drawing/2014/main" xmlns="" id="{D644210C-71FB-46C2-BB06-3DAD03BC87A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08638" y="3111500"/>
              <a:ext cx="731838" cy="750888"/>
            </a:xfrm>
            <a:custGeom>
              <a:avLst/>
              <a:gdLst>
                <a:gd name="T0" fmla="*/ 65 w 65"/>
                <a:gd name="T1" fmla="*/ 32 h 66"/>
                <a:gd name="T2" fmla="*/ 33 w 65"/>
                <a:gd name="T3" fmla="*/ 0 h 66"/>
                <a:gd name="T4" fmla="*/ 0 w 65"/>
                <a:gd name="T5" fmla="*/ 33 h 66"/>
                <a:gd name="T6" fmla="*/ 33 w 65"/>
                <a:gd name="T7" fmla="*/ 66 h 66"/>
                <a:gd name="T8" fmla="*/ 63 w 65"/>
                <a:gd name="T9" fmla="*/ 48 h 66"/>
                <a:gd name="T10" fmla="*/ 53 w 65"/>
                <a:gd name="T11" fmla="*/ 48 h 66"/>
                <a:gd name="T12" fmla="*/ 34 w 65"/>
                <a:gd name="T13" fmla="*/ 58 h 66"/>
                <a:gd name="T14" fmla="*/ 11 w 65"/>
                <a:gd name="T15" fmla="*/ 37 h 66"/>
                <a:gd name="T16" fmla="*/ 65 w 65"/>
                <a:gd name="T17" fmla="*/ 37 h 66"/>
                <a:gd name="T18" fmla="*/ 65 w 65"/>
                <a:gd name="T19" fmla="*/ 32 h 66"/>
                <a:gd name="T20" fmla="*/ 11 w 65"/>
                <a:gd name="T21" fmla="*/ 28 h 66"/>
                <a:gd name="T22" fmla="*/ 33 w 65"/>
                <a:gd name="T23" fmla="*/ 8 h 66"/>
                <a:gd name="T24" fmla="*/ 55 w 65"/>
                <a:gd name="T25" fmla="*/ 28 h 66"/>
                <a:gd name="T26" fmla="*/ 11 w 65"/>
                <a:gd name="T27" fmla="*/ 2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5" h="66">
                  <a:moveTo>
                    <a:pt x="65" y="32"/>
                  </a:moveTo>
                  <a:cubicBezTo>
                    <a:pt x="65" y="13"/>
                    <a:pt x="53" y="0"/>
                    <a:pt x="33" y="0"/>
                  </a:cubicBezTo>
                  <a:cubicBezTo>
                    <a:pt x="14" y="0"/>
                    <a:pt x="0" y="14"/>
                    <a:pt x="0" y="33"/>
                  </a:cubicBezTo>
                  <a:cubicBezTo>
                    <a:pt x="0" y="53"/>
                    <a:pt x="14" y="66"/>
                    <a:pt x="33" y="66"/>
                  </a:cubicBezTo>
                  <a:cubicBezTo>
                    <a:pt x="47" y="66"/>
                    <a:pt x="58" y="59"/>
                    <a:pt x="63" y="48"/>
                  </a:cubicBezTo>
                  <a:cubicBezTo>
                    <a:pt x="53" y="48"/>
                    <a:pt x="53" y="48"/>
                    <a:pt x="53" y="48"/>
                  </a:cubicBezTo>
                  <a:cubicBezTo>
                    <a:pt x="50" y="54"/>
                    <a:pt x="43" y="58"/>
                    <a:pt x="34" y="58"/>
                  </a:cubicBezTo>
                  <a:cubicBezTo>
                    <a:pt x="19" y="58"/>
                    <a:pt x="12" y="49"/>
                    <a:pt x="11" y="37"/>
                  </a:cubicBezTo>
                  <a:cubicBezTo>
                    <a:pt x="65" y="37"/>
                    <a:pt x="65" y="37"/>
                    <a:pt x="65" y="37"/>
                  </a:cubicBezTo>
                  <a:lnTo>
                    <a:pt x="65" y="32"/>
                  </a:lnTo>
                  <a:close/>
                  <a:moveTo>
                    <a:pt x="11" y="28"/>
                  </a:moveTo>
                  <a:cubicBezTo>
                    <a:pt x="12" y="17"/>
                    <a:pt x="20" y="8"/>
                    <a:pt x="33" y="8"/>
                  </a:cubicBezTo>
                  <a:cubicBezTo>
                    <a:pt x="47" y="8"/>
                    <a:pt x="54" y="18"/>
                    <a:pt x="55" y="28"/>
                  </a:cubicBezTo>
                  <a:lnTo>
                    <a:pt x="11" y="2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1" name="Freeform 9">
              <a:extLst>
                <a:ext uri="{FF2B5EF4-FFF2-40B4-BE49-F238E27FC236}">
                  <a16:creationId xmlns:a16="http://schemas.microsoft.com/office/drawing/2014/main" xmlns="" id="{6BD464F9-CB86-4782-98A8-138D13B22E79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3650" y="2952750"/>
              <a:ext cx="360363" cy="898525"/>
            </a:xfrm>
            <a:custGeom>
              <a:avLst/>
              <a:gdLst>
                <a:gd name="T0" fmla="*/ 20 w 32"/>
                <a:gd name="T1" fmla="*/ 62 h 79"/>
                <a:gd name="T2" fmla="*/ 20 w 32"/>
                <a:gd name="T3" fmla="*/ 24 h 79"/>
                <a:gd name="T4" fmla="*/ 32 w 32"/>
                <a:gd name="T5" fmla="*/ 24 h 79"/>
                <a:gd name="T6" fmla="*/ 32 w 32"/>
                <a:gd name="T7" fmla="*/ 16 h 79"/>
                <a:gd name="T8" fmla="*/ 20 w 32"/>
                <a:gd name="T9" fmla="*/ 16 h 79"/>
                <a:gd name="T10" fmla="*/ 20 w 32"/>
                <a:gd name="T11" fmla="*/ 0 h 79"/>
                <a:gd name="T12" fmla="*/ 9 w 32"/>
                <a:gd name="T13" fmla="*/ 0 h 79"/>
                <a:gd name="T14" fmla="*/ 9 w 32"/>
                <a:gd name="T15" fmla="*/ 16 h 79"/>
                <a:gd name="T16" fmla="*/ 0 w 32"/>
                <a:gd name="T17" fmla="*/ 16 h 79"/>
                <a:gd name="T18" fmla="*/ 0 w 32"/>
                <a:gd name="T19" fmla="*/ 24 h 79"/>
                <a:gd name="T20" fmla="*/ 9 w 32"/>
                <a:gd name="T21" fmla="*/ 24 h 79"/>
                <a:gd name="T22" fmla="*/ 9 w 32"/>
                <a:gd name="T23" fmla="*/ 63 h 79"/>
                <a:gd name="T24" fmla="*/ 26 w 32"/>
                <a:gd name="T25" fmla="*/ 79 h 79"/>
                <a:gd name="T26" fmla="*/ 32 w 32"/>
                <a:gd name="T27" fmla="*/ 79 h 79"/>
                <a:gd name="T28" fmla="*/ 32 w 32"/>
                <a:gd name="T29" fmla="*/ 70 h 79"/>
                <a:gd name="T30" fmla="*/ 27 w 32"/>
                <a:gd name="T31" fmla="*/ 71 h 79"/>
                <a:gd name="T32" fmla="*/ 20 w 32"/>
                <a:gd name="T33" fmla="*/ 62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2" h="79">
                  <a:moveTo>
                    <a:pt x="20" y="62"/>
                  </a:moveTo>
                  <a:cubicBezTo>
                    <a:pt x="20" y="24"/>
                    <a:pt x="20" y="24"/>
                    <a:pt x="20" y="24"/>
                  </a:cubicBezTo>
                  <a:cubicBezTo>
                    <a:pt x="32" y="24"/>
                    <a:pt x="32" y="24"/>
                    <a:pt x="32" y="24"/>
                  </a:cubicBezTo>
                  <a:cubicBezTo>
                    <a:pt x="32" y="16"/>
                    <a:pt x="32" y="16"/>
                    <a:pt x="32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16"/>
                    <a:pt x="9" y="16"/>
                    <a:pt x="9" y="16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63"/>
                    <a:pt x="9" y="63"/>
                    <a:pt x="9" y="63"/>
                  </a:cubicBezTo>
                  <a:cubicBezTo>
                    <a:pt x="9" y="74"/>
                    <a:pt x="14" y="79"/>
                    <a:pt x="26" y="79"/>
                  </a:cubicBezTo>
                  <a:cubicBezTo>
                    <a:pt x="28" y="79"/>
                    <a:pt x="31" y="79"/>
                    <a:pt x="32" y="79"/>
                  </a:cubicBezTo>
                  <a:cubicBezTo>
                    <a:pt x="32" y="70"/>
                    <a:pt x="32" y="70"/>
                    <a:pt x="32" y="70"/>
                  </a:cubicBezTo>
                  <a:cubicBezTo>
                    <a:pt x="30" y="71"/>
                    <a:pt x="29" y="71"/>
                    <a:pt x="27" y="71"/>
                  </a:cubicBezTo>
                  <a:cubicBezTo>
                    <a:pt x="22" y="71"/>
                    <a:pt x="20" y="69"/>
                    <a:pt x="20" y="62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2" name="Freeform 10">
              <a:extLst>
                <a:ext uri="{FF2B5EF4-FFF2-40B4-BE49-F238E27FC236}">
                  <a16:creationId xmlns:a16="http://schemas.microsoft.com/office/drawing/2014/main" xmlns="" id="{4A8BDCE4-6FCC-47A7-9CDE-4AC06B36DA13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5513" y="2816225"/>
              <a:ext cx="338138" cy="1035050"/>
            </a:xfrm>
            <a:custGeom>
              <a:avLst/>
              <a:gdLst>
                <a:gd name="T0" fmla="*/ 24 w 30"/>
                <a:gd name="T1" fmla="*/ 91 h 91"/>
                <a:gd name="T2" fmla="*/ 30 w 30"/>
                <a:gd name="T3" fmla="*/ 91 h 91"/>
                <a:gd name="T4" fmla="*/ 30 w 30"/>
                <a:gd name="T5" fmla="*/ 82 h 91"/>
                <a:gd name="T6" fmla="*/ 26 w 30"/>
                <a:gd name="T7" fmla="*/ 83 h 91"/>
                <a:gd name="T8" fmla="*/ 19 w 30"/>
                <a:gd name="T9" fmla="*/ 74 h 91"/>
                <a:gd name="T10" fmla="*/ 19 w 30"/>
                <a:gd name="T11" fmla="*/ 0 h 91"/>
                <a:gd name="T12" fmla="*/ 0 w 30"/>
                <a:gd name="T13" fmla="*/ 0 h 91"/>
                <a:gd name="T14" fmla="*/ 0 w 30"/>
                <a:gd name="T15" fmla="*/ 8 h 91"/>
                <a:gd name="T16" fmla="*/ 9 w 30"/>
                <a:gd name="T17" fmla="*/ 8 h 91"/>
                <a:gd name="T18" fmla="*/ 9 w 30"/>
                <a:gd name="T19" fmla="*/ 74 h 91"/>
                <a:gd name="T20" fmla="*/ 24 w 30"/>
                <a:gd name="T21" fmla="*/ 9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0" h="91">
                  <a:moveTo>
                    <a:pt x="24" y="91"/>
                  </a:moveTo>
                  <a:cubicBezTo>
                    <a:pt x="26" y="91"/>
                    <a:pt x="29" y="91"/>
                    <a:pt x="30" y="91"/>
                  </a:cubicBezTo>
                  <a:cubicBezTo>
                    <a:pt x="30" y="82"/>
                    <a:pt x="30" y="82"/>
                    <a:pt x="30" y="82"/>
                  </a:cubicBezTo>
                  <a:cubicBezTo>
                    <a:pt x="28" y="83"/>
                    <a:pt x="27" y="83"/>
                    <a:pt x="26" y="83"/>
                  </a:cubicBezTo>
                  <a:cubicBezTo>
                    <a:pt x="21" y="83"/>
                    <a:pt x="19" y="80"/>
                    <a:pt x="19" y="74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74"/>
                    <a:pt x="9" y="74"/>
                    <a:pt x="9" y="74"/>
                  </a:cubicBezTo>
                  <a:cubicBezTo>
                    <a:pt x="9" y="85"/>
                    <a:pt x="13" y="91"/>
                    <a:pt x="24" y="91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3" name="Freeform 11">
              <a:extLst>
                <a:ext uri="{FF2B5EF4-FFF2-40B4-BE49-F238E27FC236}">
                  <a16:creationId xmlns:a16="http://schemas.microsoft.com/office/drawing/2014/main" xmlns="" id="{331AB147-689A-43A6-B970-E8CB2BE02D7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3625" y="2781300"/>
              <a:ext cx="911225" cy="1092200"/>
            </a:xfrm>
            <a:custGeom>
              <a:avLst/>
              <a:gdLst>
                <a:gd name="T0" fmla="*/ 28 w 81"/>
                <a:gd name="T1" fmla="*/ 65 h 96"/>
                <a:gd name="T2" fmla="*/ 41 w 81"/>
                <a:gd name="T3" fmla="*/ 74 h 96"/>
                <a:gd name="T4" fmla="*/ 52 w 81"/>
                <a:gd name="T5" fmla="*/ 68 h 96"/>
                <a:gd name="T6" fmla="*/ 36 w 81"/>
                <a:gd name="T7" fmla="*/ 59 h 96"/>
                <a:gd name="T8" fmla="*/ 12 w 81"/>
                <a:gd name="T9" fmla="*/ 50 h 96"/>
                <a:gd name="T10" fmla="*/ 1 w 81"/>
                <a:gd name="T11" fmla="*/ 29 h 96"/>
                <a:gd name="T12" fmla="*/ 39 w 81"/>
                <a:gd name="T13" fmla="*/ 0 h 96"/>
                <a:gd name="T14" fmla="*/ 78 w 81"/>
                <a:gd name="T15" fmla="*/ 29 h 96"/>
                <a:gd name="T16" fmla="*/ 51 w 81"/>
                <a:gd name="T17" fmla="*/ 29 h 96"/>
                <a:gd name="T18" fmla="*/ 39 w 81"/>
                <a:gd name="T19" fmla="*/ 21 h 96"/>
                <a:gd name="T20" fmla="*/ 30 w 81"/>
                <a:gd name="T21" fmla="*/ 27 h 96"/>
                <a:gd name="T22" fmla="*/ 43 w 81"/>
                <a:gd name="T23" fmla="*/ 35 h 96"/>
                <a:gd name="T24" fmla="*/ 69 w 81"/>
                <a:gd name="T25" fmla="*/ 43 h 96"/>
                <a:gd name="T26" fmla="*/ 81 w 81"/>
                <a:gd name="T27" fmla="*/ 65 h 96"/>
                <a:gd name="T28" fmla="*/ 40 w 81"/>
                <a:gd name="T29" fmla="*/ 96 h 96"/>
                <a:gd name="T30" fmla="*/ 0 w 81"/>
                <a:gd name="T31" fmla="*/ 65 h 96"/>
                <a:gd name="T32" fmla="*/ 28 w 81"/>
                <a:gd name="T33" fmla="*/ 65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1" h="96">
                  <a:moveTo>
                    <a:pt x="28" y="65"/>
                  </a:moveTo>
                  <a:cubicBezTo>
                    <a:pt x="29" y="72"/>
                    <a:pt x="33" y="74"/>
                    <a:pt x="41" y="74"/>
                  </a:cubicBezTo>
                  <a:cubicBezTo>
                    <a:pt x="48" y="74"/>
                    <a:pt x="52" y="72"/>
                    <a:pt x="52" y="68"/>
                  </a:cubicBezTo>
                  <a:cubicBezTo>
                    <a:pt x="52" y="62"/>
                    <a:pt x="47" y="62"/>
                    <a:pt x="36" y="59"/>
                  </a:cubicBezTo>
                  <a:cubicBezTo>
                    <a:pt x="24" y="55"/>
                    <a:pt x="15" y="53"/>
                    <a:pt x="12" y="50"/>
                  </a:cubicBezTo>
                  <a:cubicBezTo>
                    <a:pt x="5" y="45"/>
                    <a:pt x="1" y="38"/>
                    <a:pt x="1" y="29"/>
                  </a:cubicBezTo>
                  <a:cubicBezTo>
                    <a:pt x="1" y="11"/>
                    <a:pt x="15" y="0"/>
                    <a:pt x="39" y="0"/>
                  </a:cubicBezTo>
                  <a:cubicBezTo>
                    <a:pt x="63" y="0"/>
                    <a:pt x="77" y="10"/>
                    <a:pt x="78" y="29"/>
                  </a:cubicBezTo>
                  <a:cubicBezTo>
                    <a:pt x="51" y="29"/>
                    <a:pt x="51" y="29"/>
                    <a:pt x="51" y="29"/>
                  </a:cubicBezTo>
                  <a:cubicBezTo>
                    <a:pt x="50" y="23"/>
                    <a:pt x="46" y="21"/>
                    <a:pt x="39" y="21"/>
                  </a:cubicBezTo>
                  <a:cubicBezTo>
                    <a:pt x="33" y="21"/>
                    <a:pt x="30" y="23"/>
                    <a:pt x="30" y="27"/>
                  </a:cubicBezTo>
                  <a:cubicBezTo>
                    <a:pt x="30" y="32"/>
                    <a:pt x="34" y="33"/>
                    <a:pt x="43" y="35"/>
                  </a:cubicBezTo>
                  <a:cubicBezTo>
                    <a:pt x="54" y="38"/>
                    <a:pt x="63" y="40"/>
                    <a:pt x="69" y="43"/>
                  </a:cubicBezTo>
                  <a:cubicBezTo>
                    <a:pt x="77" y="49"/>
                    <a:pt x="81" y="55"/>
                    <a:pt x="81" y="65"/>
                  </a:cubicBezTo>
                  <a:cubicBezTo>
                    <a:pt x="81" y="84"/>
                    <a:pt x="66" y="96"/>
                    <a:pt x="40" y="96"/>
                  </a:cubicBezTo>
                  <a:cubicBezTo>
                    <a:pt x="16" y="96"/>
                    <a:pt x="1" y="84"/>
                    <a:pt x="0" y="65"/>
                  </a:cubicBezTo>
                  <a:lnTo>
                    <a:pt x="28" y="65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4" name="Freeform 12">
              <a:extLst>
                <a:ext uri="{FF2B5EF4-FFF2-40B4-BE49-F238E27FC236}">
                  <a16:creationId xmlns:a16="http://schemas.microsoft.com/office/drawing/2014/main" xmlns="" id="{AA8CC35E-627A-410D-9CC1-5DFD27072BFF}"/>
                </a:ext>
              </a:extLst>
            </p:cNvPr>
            <p:cNvSpPr>
              <a:spLocks/>
            </p:cNvSpPr>
            <p:nvPr/>
          </p:nvSpPr>
          <p:spPr bwMode="auto">
            <a:xfrm>
              <a:off x="1698625" y="2781300"/>
              <a:ext cx="1014413" cy="1092200"/>
            </a:xfrm>
            <a:custGeom>
              <a:avLst/>
              <a:gdLst>
                <a:gd name="T0" fmla="*/ 90 w 90"/>
                <a:gd name="T1" fmla="*/ 58 h 96"/>
                <a:gd name="T2" fmla="*/ 46 w 90"/>
                <a:gd name="T3" fmla="*/ 96 h 96"/>
                <a:gd name="T4" fmla="*/ 0 w 90"/>
                <a:gd name="T5" fmla="*/ 48 h 96"/>
                <a:gd name="T6" fmla="*/ 46 w 90"/>
                <a:gd name="T7" fmla="*/ 0 h 96"/>
                <a:gd name="T8" fmla="*/ 89 w 90"/>
                <a:gd name="T9" fmla="*/ 37 h 96"/>
                <a:gd name="T10" fmla="*/ 62 w 90"/>
                <a:gd name="T11" fmla="*/ 37 h 96"/>
                <a:gd name="T12" fmla="*/ 46 w 90"/>
                <a:gd name="T13" fmla="*/ 23 h 96"/>
                <a:gd name="T14" fmla="*/ 29 w 90"/>
                <a:gd name="T15" fmla="*/ 48 h 96"/>
                <a:gd name="T16" fmla="*/ 47 w 90"/>
                <a:gd name="T17" fmla="*/ 73 h 96"/>
                <a:gd name="T18" fmla="*/ 62 w 90"/>
                <a:gd name="T19" fmla="*/ 58 h 96"/>
                <a:gd name="T20" fmla="*/ 90 w 90"/>
                <a:gd name="T21" fmla="*/ 58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0" h="96">
                  <a:moveTo>
                    <a:pt x="90" y="58"/>
                  </a:moveTo>
                  <a:cubicBezTo>
                    <a:pt x="88" y="82"/>
                    <a:pt x="72" y="96"/>
                    <a:pt x="46" y="96"/>
                  </a:cubicBezTo>
                  <a:cubicBezTo>
                    <a:pt x="17" y="96"/>
                    <a:pt x="0" y="78"/>
                    <a:pt x="0" y="48"/>
                  </a:cubicBezTo>
                  <a:cubicBezTo>
                    <a:pt x="0" y="18"/>
                    <a:pt x="17" y="0"/>
                    <a:pt x="46" y="0"/>
                  </a:cubicBezTo>
                  <a:cubicBezTo>
                    <a:pt x="72" y="0"/>
                    <a:pt x="88" y="13"/>
                    <a:pt x="89" y="37"/>
                  </a:cubicBezTo>
                  <a:cubicBezTo>
                    <a:pt x="62" y="37"/>
                    <a:pt x="62" y="37"/>
                    <a:pt x="62" y="37"/>
                  </a:cubicBezTo>
                  <a:cubicBezTo>
                    <a:pt x="61" y="28"/>
                    <a:pt x="55" y="23"/>
                    <a:pt x="46" y="23"/>
                  </a:cubicBezTo>
                  <a:cubicBezTo>
                    <a:pt x="35" y="23"/>
                    <a:pt x="29" y="31"/>
                    <a:pt x="29" y="48"/>
                  </a:cubicBezTo>
                  <a:cubicBezTo>
                    <a:pt x="29" y="65"/>
                    <a:pt x="35" y="73"/>
                    <a:pt x="47" y="73"/>
                  </a:cubicBezTo>
                  <a:cubicBezTo>
                    <a:pt x="56" y="73"/>
                    <a:pt x="61" y="68"/>
                    <a:pt x="62" y="58"/>
                  </a:cubicBezTo>
                  <a:lnTo>
                    <a:pt x="90" y="58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5" name="Freeform 13">
              <a:extLst>
                <a:ext uri="{FF2B5EF4-FFF2-40B4-BE49-F238E27FC236}">
                  <a16:creationId xmlns:a16="http://schemas.microsoft.com/office/drawing/2014/main" xmlns="" id="{A6104163-5896-46B6-AC7E-D2E4D25EC2F7}"/>
                </a:ext>
              </a:extLst>
            </p:cNvPr>
            <p:cNvSpPr>
              <a:spLocks/>
            </p:cNvSpPr>
            <p:nvPr/>
          </p:nvSpPr>
          <p:spPr bwMode="auto">
            <a:xfrm>
              <a:off x="2644775" y="2816225"/>
              <a:ext cx="1014413" cy="1023938"/>
            </a:xfrm>
            <a:custGeom>
              <a:avLst/>
              <a:gdLst>
                <a:gd name="T0" fmla="*/ 0 w 639"/>
                <a:gd name="T1" fmla="*/ 0 h 645"/>
                <a:gd name="T2" fmla="*/ 206 w 639"/>
                <a:gd name="T3" fmla="*/ 0 h 645"/>
                <a:gd name="T4" fmla="*/ 320 w 639"/>
                <a:gd name="T5" fmla="*/ 415 h 645"/>
                <a:gd name="T6" fmla="*/ 433 w 639"/>
                <a:gd name="T7" fmla="*/ 0 h 645"/>
                <a:gd name="T8" fmla="*/ 639 w 639"/>
                <a:gd name="T9" fmla="*/ 0 h 645"/>
                <a:gd name="T10" fmla="*/ 419 w 639"/>
                <a:gd name="T11" fmla="*/ 645 h 645"/>
                <a:gd name="T12" fmla="*/ 213 w 639"/>
                <a:gd name="T13" fmla="*/ 645 h 645"/>
                <a:gd name="T14" fmla="*/ 0 w 639"/>
                <a:gd name="T15" fmla="*/ 0 h 6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39" h="645">
                  <a:moveTo>
                    <a:pt x="0" y="0"/>
                  </a:moveTo>
                  <a:lnTo>
                    <a:pt x="206" y="0"/>
                  </a:lnTo>
                  <a:lnTo>
                    <a:pt x="320" y="415"/>
                  </a:lnTo>
                  <a:lnTo>
                    <a:pt x="433" y="0"/>
                  </a:lnTo>
                  <a:lnTo>
                    <a:pt x="639" y="0"/>
                  </a:lnTo>
                  <a:lnTo>
                    <a:pt x="419" y="645"/>
                  </a:lnTo>
                  <a:lnTo>
                    <a:pt x="213" y="64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6" name="Freeform 14">
              <a:extLst>
                <a:ext uri="{FF2B5EF4-FFF2-40B4-BE49-F238E27FC236}">
                  <a16:creationId xmlns:a16="http://schemas.microsoft.com/office/drawing/2014/main" xmlns="" id="{481FE757-1FA8-48AB-BF72-DF393E4A3A65}"/>
                </a:ext>
              </a:extLst>
            </p:cNvPr>
            <p:cNvSpPr>
              <a:spLocks/>
            </p:cNvSpPr>
            <p:nvPr/>
          </p:nvSpPr>
          <p:spPr bwMode="auto">
            <a:xfrm>
              <a:off x="279400" y="2781300"/>
              <a:ext cx="1295400" cy="1092200"/>
            </a:xfrm>
            <a:custGeom>
              <a:avLst/>
              <a:gdLst>
                <a:gd name="T0" fmla="*/ 4 w 115"/>
                <a:gd name="T1" fmla="*/ 42 h 96"/>
                <a:gd name="T2" fmla="*/ 0 w 115"/>
                <a:gd name="T3" fmla="*/ 33 h 96"/>
                <a:gd name="T4" fmla="*/ 4 w 115"/>
                <a:gd name="T5" fmla="*/ 23 h 96"/>
                <a:gd name="T6" fmla="*/ 22 w 115"/>
                <a:gd name="T7" fmla="*/ 4 h 96"/>
                <a:gd name="T8" fmla="*/ 32 w 115"/>
                <a:gd name="T9" fmla="*/ 0 h 96"/>
                <a:gd name="T10" fmla="*/ 42 w 115"/>
                <a:gd name="T11" fmla="*/ 4 h 96"/>
                <a:gd name="T12" fmla="*/ 58 w 115"/>
                <a:gd name="T13" fmla="*/ 20 h 96"/>
                <a:gd name="T14" fmla="*/ 73 w 115"/>
                <a:gd name="T15" fmla="*/ 4 h 96"/>
                <a:gd name="T16" fmla="*/ 83 w 115"/>
                <a:gd name="T17" fmla="*/ 0 h 96"/>
                <a:gd name="T18" fmla="*/ 93 w 115"/>
                <a:gd name="T19" fmla="*/ 4 h 96"/>
                <a:gd name="T20" fmla="*/ 111 w 115"/>
                <a:gd name="T21" fmla="*/ 23 h 96"/>
                <a:gd name="T22" fmla="*/ 115 w 115"/>
                <a:gd name="T23" fmla="*/ 33 h 96"/>
                <a:gd name="T24" fmla="*/ 111 w 115"/>
                <a:gd name="T25" fmla="*/ 42 h 96"/>
                <a:gd name="T26" fmla="*/ 58 w 115"/>
                <a:gd name="T27" fmla="*/ 96 h 96"/>
                <a:gd name="T28" fmla="*/ 57 w 115"/>
                <a:gd name="T29" fmla="*/ 96 h 96"/>
                <a:gd name="T30" fmla="*/ 4 w 115"/>
                <a:gd name="T31" fmla="*/ 4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5" h="96">
                  <a:moveTo>
                    <a:pt x="4" y="42"/>
                  </a:moveTo>
                  <a:cubicBezTo>
                    <a:pt x="1" y="40"/>
                    <a:pt x="0" y="36"/>
                    <a:pt x="0" y="33"/>
                  </a:cubicBezTo>
                  <a:cubicBezTo>
                    <a:pt x="0" y="29"/>
                    <a:pt x="1" y="25"/>
                    <a:pt x="4" y="23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25" y="1"/>
                    <a:pt x="29" y="0"/>
                    <a:pt x="32" y="0"/>
                  </a:cubicBezTo>
                  <a:cubicBezTo>
                    <a:pt x="36" y="0"/>
                    <a:pt x="39" y="1"/>
                    <a:pt x="42" y="4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73" y="4"/>
                    <a:pt x="73" y="4"/>
                    <a:pt x="73" y="4"/>
                  </a:cubicBezTo>
                  <a:cubicBezTo>
                    <a:pt x="76" y="1"/>
                    <a:pt x="79" y="0"/>
                    <a:pt x="83" y="0"/>
                  </a:cubicBezTo>
                  <a:cubicBezTo>
                    <a:pt x="87" y="0"/>
                    <a:pt x="90" y="1"/>
                    <a:pt x="93" y="4"/>
                  </a:cubicBezTo>
                  <a:cubicBezTo>
                    <a:pt x="111" y="23"/>
                    <a:pt x="111" y="23"/>
                    <a:pt x="111" y="23"/>
                  </a:cubicBezTo>
                  <a:cubicBezTo>
                    <a:pt x="114" y="25"/>
                    <a:pt x="115" y="29"/>
                    <a:pt x="115" y="33"/>
                  </a:cubicBezTo>
                  <a:cubicBezTo>
                    <a:pt x="115" y="36"/>
                    <a:pt x="114" y="40"/>
                    <a:pt x="111" y="42"/>
                  </a:cubicBezTo>
                  <a:cubicBezTo>
                    <a:pt x="58" y="96"/>
                    <a:pt x="58" y="96"/>
                    <a:pt x="58" y="96"/>
                  </a:cubicBezTo>
                  <a:cubicBezTo>
                    <a:pt x="57" y="96"/>
                    <a:pt x="57" y="96"/>
                    <a:pt x="57" y="96"/>
                  </a:cubicBezTo>
                  <a:lnTo>
                    <a:pt x="4" y="42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373893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able of Contents">
    <p:bg>
      <p:bgPr>
        <a:solidFill>
          <a:srgbClr val="064E6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600167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70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icture Placeholder 5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4990623" cy="6858000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algn="ctr">
              <a:defRPr sz="320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3" name="Rectangle 2"/>
          <p:cNvSpPr/>
          <p:nvPr userDrawn="1"/>
        </p:nvSpPr>
        <p:spPr>
          <a:xfrm flipH="1">
            <a:off x="4990624" y="0"/>
            <a:ext cx="157730" cy="6858000"/>
          </a:xfrm>
          <a:prstGeom prst="rect">
            <a:avLst/>
          </a:prstGeom>
          <a:solidFill>
            <a:srgbClr val="043A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1" dirty="0">
              <a:solidFill>
                <a:schemeClr val="bg2">
                  <a:lumMod val="40000"/>
                  <a:lumOff val="60000"/>
                </a:scheme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Rectangle 3"/>
          <p:cNvSpPr/>
          <p:nvPr userDrawn="1"/>
        </p:nvSpPr>
        <p:spPr>
          <a:xfrm>
            <a:off x="5148355" y="1"/>
            <a:ext cx="7042059" cy="236120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5713191" y="1347025"/>
            <a:ext cx="6087634" cy="707944"/>
          </a:xfrm>
          <a:prstGeom prst="rect">
            <a:avLst/>
          </a:prstGeom>
        </p:spPr>
        <p:txBody>
          <a:bodyPr lIns="0" anchor="t"/>
          <a:lstStyle>
            <a:lvl1pPr marL="0" indent="0" algn="l" defTabSz="914400" rtl="0" eaLnBrk="1" latinLnBrk="0" hangingPunct="1">
              <a:lnSpc>
                <a:spcPct val="80000"/>
              </a:lnSpc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lang="en-US" sz="5400" b="1" i="0" kern="1200" baseline="0" dirty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Table of Contents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713191" y="2623839"/>
            <a:ext cx="5578857" cy="431800"/>
          </a:xfrm>
          <a:prstGeom prst="rect">
            <a:avLst/>
          </a:prstGeom>
        </p:spPr>
        <p:txBody>
          <a:bodyPr lIns="0" anchor="t" anchorCtr="0"/>
          <a:lstStyle>
            <a:lvl1pPr algn="l">
              <a:defRPr sz="2400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Page titles</a:t>
            </a: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in Intern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4521182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94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5" name="Rectangle 54"/>
          <p:cNvSpPr/>
          <p:nvPr/>
        </p:nvSpPr>
        <p:spPr>
          <a:xfrm>
            <a:off x="0" y="1"/>
            <a:ext cx="12191996" cy="1554480"/>
          </a:xfrm>
          <a:prstGeom prst="rect">
            <a:avLst/>
          </a:prstGeom>
          <a:solidFill>
            <a:srgbClr val="064E69"/>
          </a:solidFill>
        </p:spPr>
        <p:txBody>
          <a:bodyPr wrap="square" lIns="548640" tIns="0" rIns="91440" bIns="0" anchor="ctr">
            <a:noAutofit/>
          </a:bodyPr>
          <a:lstStyle/>
          <a:p>
            <a:endParaRPr lang="en-US" sz="4000" b="1" dirty="0">
              <a:solidFill>
                <a:schemeClr val="bg1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6" name="Rectangle 55"/>
          <p:cNvSpPr/>
          <p:nvPr/>
        </p:nvSpPr>
        <p:spPr>
          <a:xfrm>
            <a:off x="-1" y="1448246"/>
            <a:ext cx="12192127" cy="106731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7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96379"/>
            <a:ext cx="9688623" cy="476805"/>
          </a:xfrm>
          <a:prstGeom prst="rect">
            <a:avLst/>
          </a:prstGeom>
        </p:spPr>
        <p:txBody>
          <a:bodyPr tIns="0" bIns="0" anchor="t" anchorCtr="0"/>
          <a:lstStyle>
            <a:lvl1pPr algn="l">
              <a:defRPr sz="3000" b="1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58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860151"/>
            <a:ext cx="9688622" cy="423094"/>
          </a:xfrm>
          <a:prstGeom prst="rect">
            <a:avLst/>
          </a:prstGeom>
        </p:spPr>
        <p:txBody>
          <a:bodyPr anchor="ctr"/>
          <a:lstStyle>
            <a:lvl1pPr algn="l">
              <a:lnSpc>
                <a:spcPct val="90000"/>
              </a:lnSpc>
              <a:spcBef>
                <a:spcPts val="0"/>
              </a:spcBef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cxnSp>
        <p:nvCxnSpPr>
          <p:cNvPr id="59" name="Straight Connector 58"/>
          <p:cNvCxnSpPr/>
          <p:nvPr/>
        </p:nvCxnSpPr>
        <p:spPr>
          <a:xfrm>
            <a:off x="10363874" y="222724"/>
            <a:ext cx="0" cy="1032988"/>
          </a:xfrm>
          <a:prstGeom prst="line">
            <a:avLst/>
          </a:prstGeom>
          <a:ln w="15875" cmpd="sng">
            <a:solidFill>
              <a:schemeClr val="accent2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TextBox 62"/>
          <p:cNvSpPr txBox="1">
            <a:spLocks/>
          </p:cNvSpPr>
          <p:nvPr/>
        </p:nvSpPr>
        <p:spPr>
          <a:xfrm>
            <a:off x="11008872" y="633221"/>
            <a:ext cx="224212" cy="176024"/>
          </a:xfrm>
          <a:custGeom>
            <a:avLst/>
            <a:gdLst/>
            <a:ahLst/>
            <a:cxnLst/>
            <a:rect l="l" t="t" r="r" b="b"/>
            <a:pathLst>
              <a:path w="486642" h="382152">
                <a:moveTo>
                  <a:pt x="150943" y="0"/>
                </a:moveTo>
                <a:cubicBezTo>
                  <a:pt x="191582" y="0"/>
                  <a:pt x="224490" y="12368"/>
                  <a:pt x="232082" y="39810"/>
                </a:cubicBezTo>
                <a:lnTo>
                  <a:pt x="232262" y="41192"/>
                </a:lnTo>
                <a:lnTo>
                  <a:pt x="244394" y="27828"/>
                </a:lnTo>
                <a:cubicBezTo>
                  <a:pt x="265912" y="9086"/>
                  <a:pt x="296328" y="0"/>
                  <a:pt x="331918" y="0"/>
                </a:cubicBezTo>
                <a:cubicBezTo>
                  <a:pt x="355140" y="0"/>
                  <a:pt x="375838" y="4038"/>
                  <a:pt x="390730" y="12620"/>
                </a:cubicBezTo>
                <a:lnTo>
                  <a:pt x="399550" y="19037"/>
                </a:lnTo>
                <a:lnTo>
                  <a:pt x="415123" y="9213"/>
                </a:lnTo>
                <a:cubicBezTo>
                  <a:pt x="421204" y="6846"/>
                  <a:pt x="427956" y="5553"/>
                  <a:pt x="435150" y="5553"/>
                </a:cubicBezTo>
                <a:cubicBezTo>
                  <a:pt x="464430" y="5553"/>
                  <a:pt x="486642" y="26250"/>
                  <a:pt x="486642" y="53511"/>
                </a:cubicBezTo>
                <a:cubicBezTo>
                  <a:pt x="486642" y="80772"/>
                  <a:pt x="464430" y="101974"/>
                  <a:pt x="435150" y="101974"/>
                </a:cubicBezTo>
                <a:cubicBezTo>
                  <a:pt x="420763" y="101974"/>
                  <a:pt x="408142" y="96674"/>
                  <a:pt x="399118" y="87965"/>
                </a:cubicBezTo>
                <a:lnTo>
                  <a:pt x="397141" y="85099"/>
                </a:lnTo>
                <a:lnTo>
                  <a:pt x="387023" y="90979"/>
                </a:lnTo>
                <a:cubicBezTo>
                  <a:pt x="381675" y="92887"/>
                  <a:pt x="375838" y="93897"/>
                  <a:pt x="369780" y="93897"/>
                </a:cubicBezTo>
                <a:cubicBezTo>
                  <a:pt x="355140" y="93897"/>
                  <a:pt x="342015" y="89354"/>
                  <a:pt x="335452" y="81781"/>
                </a:cubicBezTo>
                <a:cubicBezTo>
                  <a:pt x="350092" y="78247"/>
                  <a:pt x="359179" y="66132"/>
                  <a:pt x="359179" y="42910"/>
                </a:cubicBezTo>
                <a:cubicBezTo>
                  <a:pt x="359179" y="22717"/>
                  <a:pt x="350597" y="8077"/>
                  <a:pt x="331918" y="8077"/>
                </a:cubicBezTo>
                <a:cubicBezTo>
                  <a:pt x="308696" y="8077"/>
                  <a:pt x="300619" y="29784"/>
                  <a:pt x="300619" y="58054"/>
                </a:cubicBezTo>
                <a:lnTo>
                  <a:pt x="300619" y="132264"/>
                </a:lnTo>
                <a:lnTo>
                  <a:pt x="363217" y="132264"/>
                </a:lnTo>
                <a:lnTo>
                  <a:pt x="360693" y="144884"/>
                </a:lnTo>
                <a:lnTo>
                  <a:pt x="300619" y="144884"/>
                </a:lnTo>
                <a:lnTo>
                  <a:pt x="300619" y="327126"/>
                </a:lnTo>
                <a:cubicBezTo>
                  <a:pt x="300619" y="360445"/>
                  <a:pt x="312230" y="369027"/>
                  <a:pt x="339490" y="381142"/>
                </a:cubicBezTo>
                <a:lnTo>
                  <a:pt x="339490" y="382152"/>
                </a:lnTo>
                <a:lnTo>
                  <a:pt x="186529" y="382152"/>
                </a:lnTo>
                <a:lnTo>
                  <a:pt x="186529" y="381142"/>
                </a:lnTo>
                <a:cubicBezTo>
                  <a:pt x="208741" y="367007"/>
                  <a:pt x="210255" y="360445"/>
                  <a:pt x="210255" y="327126"/>
                </a:cubicBezTo>
                <a:lnTo>
                  <a:pt x="210255" y="144884"/>
                </a:lnTo>
                <a:lnTo>
                  <a:pt x="180976" y="144884"/>
                </a:lnTo>
                <a:lnTo>
                  <a:pt x="180976" y="139331"/>
                </a:lnTo>
                <a:lnTo>
                  <a:pt x="210255" y="128225"/>
                </a:lnTo>
                <a:lnTo>
                  <a:pt x="210255" y="113585"/>
                </a:lnTo>
                <a:lnTo>
                  <a:pt x="212504" y="87227"/>
                </a:lnTo>
                <a:lnTo>
                  <a:pt x="206048" y="90979"/>
                </a:lnTo>
                <a:cubicBezTo>
                  <a:pt x="200700" y="92887"/>
                  <a:pt x="194863" y="93897"/>
                  <a:pt x="188805" y="93897"/>
                </a:cubicBezTo>
                <a:cubicBezTo>
                  <a:pt x="174165" y="93897"/>
                  <a:pt x="161040" y="89354"/>
                  <a:pt x="154477" y="81781"/>
                </a:cubicBezTo>
                <a:cubicBezTo>
                  <a:pt x="169117" y="78247"/>
                  <a:pt x="178204" y="66132"/>
                  <a:pt x="178204" y="42910"/>
                </a:cubicBezTo>
                <a:cubicBezTo>
                  <a:pt x="178204" y="22717"/>
                  <a:pt x="169622" y="8077"/>
                  <a:pt x="150943" y="8077"/>
                </a:cubicBezTo>
                <a:cubicBezTo>
                  <a:pt x="127721" y="8077"/>
                  <a:pt x="119644" y="29784"/>
                  <a:pt x="119644" y="58054"/>
                </a:cubicBezTo>
                <a:lnTo>
                  <a:pt x="119644" y="132264"/>
                </a:lnTo>
                <a:lnTo>
                  <a:pt x="182242" y="132264"/>
                </a:lnTo>
                <a:lnTo>
                  <a:pt x="179718" y="144884"/>
                </a:lnTo>
                <a:lnTo>
                  <a:pt x="119644" y="144884"/>
                </a:lnTo>
                <a:lnTo>
                  <a:pt x="119644" y="327126"/>
                </a:lnTo>
                <a:cubicBezTo>
                  <a:pt x="119644" y="360445"/>
                  <a:pt x="131255" y="369027"/>
                  <a:pt x="158516" y="381142"/>
                </a:cubicBezTo>
                <a:lnTo>
                  <a:pt x="158516" y="382152"/>
                </a:lnTo>
                <a:lnTo>
                  <a:pt x="5554" y="382152"/>
                </a:lnTo>
                <a:lnTo>
                  <a:pt x="5554" y="381142"/>
                </a:lnTo>
                <a:cubicBezTo>
                  <a:pt x="27766" y="367007"/>
                  <a:pt x="29280" y="360445"/>
                  <a:pt x="29280" y="327126"/>
                </a:cubicBezTo>
                <a:lnTo>
                  <a:pt x="29280" y="144884"/>
                </a:lnTo>
                <a:lnTo>
                  <a:pt x="0" y="144884"/>
                </a:lnTo>
                <a:lnTo>
                  <a:pt x="0" y="139331"/>
                </a:lnTo>
                <a:lnTo>
                  <a:pt x="29280" y="128225"/>
                </a:lnTo>
                <a:lnTo>
                  <a:pt x="29280" y="113585"/>
                </a:lnTo>
                <a:cubicBezTo>
                  <a:pt x="29280" y="36347"/>
                  <a:pt x="79763" y="0"/>
                  <a:pt x="150943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4" name="TextBox 63"/>
          <p:cNvSpPr txBox="1">
            <a:spLocks/>
          </p:cNvSpPr>
          <p:nvPr/>
        </p:nvSpPr>
        <p:spPr>
          <a:xfrm>
            <a:off x="10828278" y="644150"/>
            <a:ext cx="167232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5" name="TextBox 64"/>
          <p:cNvSpPr txBox="1">
            <a:spLocks/>
          </p:cNvSpPr>
          <p:nvPr/>
        </p:nvSpPr>
        <p:spPr>
          <a:xfrm>
            <a:off x="11252333" y="691818"/>
            <a:ext cx="113038" cy="119752"/>
          </a:xfrm>
          <a:custGeom>
            <a:avLst/>
            <a:gdLst/>
            <a:ahLst/>
            <a:cxnLst/>
            <a:rect l="l" t="t" r="r" b="b"/>
            <a:pathLst>
              <a:path w="245345" h="259984">
                <a:moveTo>
                  <a:pt x="144885" y="0"/>
                </a:moveTo>
                <a:cubicBezTo>
                  <a:pt x="199406" y="0"/>
                  <a:pt x="240297" y="23726"/>
                  <a:pt x="240297" y="65122"/>
                </a:cubicBezTo>
                <a:cubicBezTo>
                  <a:pt x="240297" y="95411"/>
                  <a:pt x="217075" y="111061"/>
                  <a:pt x="192843" y="111061"/>
                </a:cubicBezTo>
                <a:cubicBezTo>
                  <a:pt x="166087" y="111061"/>
                  <a:pt x="150438" y="96421"/>
                  <a:pt x="148923" y="81781"/>
                </a:cubicBezTo>
                <a:cubicBezTo>
                  <a:pt x="151952" y="82791"/>
                  <a:pt x="155486" y="83296"/>
                  <a:pt x="158010" y="83296"/>
                </a:cubicBezTo>
                <a:cubicBezTo>
                  <a:pt x="176689" y="83296"/>
                  <a:pt x="184261" y="67646"/>
                  <a:pt x="184261" y="48463"/>
                </a:cubicBezTo>
                <a:cubicBezTo>
                  <a:pt x="184261" y="24231"/>
                  <a:pt x="171136" y="8582"/>
                  <a:pt x="145894" y="8582"/>
                </a:cubicBezTo>
                <a:cubicBezTo>
                  <a:pt x="110557" y="8582"/>
                  <a:pt x="93897" y="54016"/>
                  <a:pt x="93897" y="112575"/>
                </a:cubicBezTo>
                <a:cubicBezTo>
                  <a:pt x="93897" y="181737"/>
                  <a:pt x="124692" y="218589"/>
                  <a:pt x="171640" y="218589"/>
                </a:cubicBezTo>
                <a:cubicBezTo>
                  <a:pt x="200415" y="218589"/>
                  <a:pt x="226666" y="204958"/>
                  <a:pt x="242316" y="173659"/>
                </a:cubicBezTo>
                <a:lnTo>
                  <a:pt x="245345" y="175174"/>
                </a:lnTo>
                <a:cubicBezTo>
                  <a:pt x="231210" y="229190"/>
                  <a:pt x="185775" y="259984"/>
                  <a:pt x="129740" y="259984"/>
                </a:cubicBezTo>
                <a:cubicBezTo>
                  <a:pt x="60074" y="259984"/>
                  <a:pt x="0" y="213036"/>
                  <a:pt x="0" y="134788"/>
                </a:cubicBezTo>
                <a:cubicBezTo>
                  <a:pt x="0" y="49977"/>
                  <a:pt x="63608" y="0"/>
                  <a:pt x="144885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6" name="TextBox 65"/>
          <p:cNvSpPr txBox="1">
            <a:spLocks/>
          </p:cNvSpPr>
          <p:nvPr/>
        </p:nvSpPr>
        <p:spPr>
          <a:xfrm>
            <a:off x="11375209" y="691818"/>
            <a:ext cx="116062" cy="119752"/>
          </a:xfrm>
          <a:custGeom>
            <a:avLst/>
            <a:gdLst/>
            <a:ahLst/>
            <a:cxnLst/>
            <a:rect l="l" t="t" r="r" b="b"/>
            <a:pathLst>
              <a:path w="251908" h="259984">
                <a:moveTo>
                  <a:pt x="132264" y="0"/>
                </a:moveTo>
                <a:cubicBezTo>
                  <a:pt x="213541" y="0"/>
                  <a:pt x="251908" y="51996"/>
                  <a:pt x="251908" y="118633"/>
                </a:cubicBezTo>
                <a:lnTo>
                  <a:pt x="91373" y="118633"/>
                </a:lnTo>
                <a:cubicBezTo>
                  <a:pt x="91373" y="181232"/>
                  <a:pt x="124187" y="218589"/>
                  <a:pt x="172650" y="218589"/>
                </a:cubicBezTo>
                <a:cubicBezTo>
                  <a:pt x="203444" y="218589"/>
                  <a:pt x="230200" y="204958"/>
                  <a:pt x="245850" y="173659"/>
                </a:cubicBezTo>
                <a:lnTo>
                  <a:pt x="249383" y="175174"/>
                </a:lnTo>
                <a:cubicBezTo>
                  <a:pt x="234744" y="229190"/>
                  <a:pt x="189309" y="259984"/>
                  <a:pt x="131759" y="259984"/>
                </a:cubicBezTo>
                <a:cubicBezTo>
                  <a:pt x="59569" y="259984"/>
                  <a:pt x="0" y="212531"/>
                  <a:pt x="0" y="130244"/>
                </a:cubicBezTo>
                <a:cubicBezTo>
                  <a:pt x="0" y="50987"/>
                  <a:pt x="60074" y="0"/>
                  <a:pt x="132264" y="0"/>
                </a:cubicBezTo>
                <a:close/>
                <a:moveTo>
                  <a:pt x="132264" y="8582"/>
                </a:moveTo>
                <a:cubicBezTo>
                  <a:pt x="106013" y="8582"/>
                  <a:pt x="92888" y="48463"/>
                  <a:pt x="91878" y="108032"/>
                </a:cubicBezTo>
                <a:lnTo>
                  <a:pt x="165078" y="108032"/>
                </a:lnTo>
                <a:cubicBezTo>
                  <a:pt x="165078" y="51492"/>
                  <a:pt x="161039" y="8582"/>
                  <a:pt x="132264" y="85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7" name="TextBox 66"/>
          <p:cNvSpPr txBox="1">
            <a:spLocks/>
          </p:cNvSpPr>
          <p:nvPr/>
        </p:nvSpPr>
        <p:spPr>
          <a:xfrm>
            <a:off x="11176798" y="694143"/>
            <a:ext cx="64892" cy="115102"/>
          </a:xfrm>
          <a:custGeom>
            <a:avLst/>
            <a:gdLst/>
            <a:ahLst/>
            <a:cxnLst/>
            <a:rect l="l" t="t" r="r" b="b"/>
            <a:pathLst>
              <a:path w="140846" h="249888">
                <a:moveTo>
                  <a:pt x="0" y="0"/>
                </a:moveTo>
                <a:lnTo>
                  <a:pt x="117119" y="0"/>
                </a:lnTo>
                <a:lnTo>
                  <a:pt x="117119" y="194862"/>
                </a:lnTo>
                <a:cubicBezTo>
                  <a:pt x="117119" y="228181"/>
                  <a:pt x="118633" y="234743"/>
                  <a:pt x="140846" y="248878"/>
                </a:cubicBezTo>
                <a:lnTo>
                  <a:pt x="140846" y="249888"/>
                </a:lnTo>
                <a:lnTo>
                  <a:pt x="3029" y="249888"/>
                </a:lnTo>
                <a:lnTo>
                  <a:pt x="3029" y="248878"/>
                </a:lnTo>
                <a:cubicBezTo>
                  <a:pt x="25241" y="234743"/>
                  <a:pt x="26755" y="228181"/>
                  <a:pt x="26755" y="194862"/>
                </a:cubicBezTo>
                <a:lnTo>
                  <a:pt x="26755" y="56035"/>
                </a:lnTo>
                <a:cubicBezTo>
                  <a:pt x="26755" y="21707"/>
                  <a:pt x="23726" y="14640"/>
                  <a:pt x="0" y="1009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8" name="TextBox 67"/>
          <p:cNvSpPr txBox="1">
            <a:spLocks/>
          </p:cNvSpPr>
          <p:nvPr/>
        </p:nvSpPr>
        <p:spPr>
          <a:xfrm>
            <a:off x="11298619" y="842827"/>
            <a:ext cx="149090" cy="167421"/>
          </a:xfrm>
          <a:custGeom>
            <a:avLst/>
            <a:gdLst/>
            <a:ahLst/>
            <a:cxnLst/>
            <a:rect l="l" t="t" r="r" b="b"/>
            <a:pathLst>
              <a:path w="323593" h="363474">
                <a:moveTo>
                  <a:pt x="190319" y="0"/>
                </a:moveTo>
                <a:cubicBezTo>
                  <a:pt x="236258" y="0"/>
                  <a:pt x="260994" y="15145"/>
                  <a:pt x="277653" y="15145"/>
                </a:cubicBezTo>
                <a:cubicBezTo>
                  <a:pt x="291284" y="15145"/>
                  <a:pt x="299866" y="9087"/>
                  <a:pt x="310467" y="0"/>
                </a:cubicBezTo>
                <a:lnTo>
                  <a:pt x="314001" y="120149"/>
                </a:lnTo>
                <a:lnTo>
                  <a:pt x="312991" y="120149"/>
                </a:lnTo>
                <a:cubicBezTo>
                  <a:pt x="287750" y="56541"/>
                  <a:pt x="250393" y="11107"/>
                  <a:pt x="199910" y="11107"/>
                </a:cubicBezTo>
                <a:cubicBezTo>
                  <a:pt x="137312" y="11107"/>
                  <a:pt x="101974" y="80268"/>
                  <a:pt x="101974" y="164573"/>
                </a:cubicBezTo>
                <a:cubicBezTo>
                  <a:pt x="101974" y="260490"/>
                  <a:pt x="155486" y="315011"/>
                  <a:pt x="221113" y="315011"/>
                </a:cubicBezTo>
                <a:cubicBezTo>
                  <a:pt x="263014" y="315011"/>
                  <a:pt x="297846" y="300371"/>
                  <a:pt x="320564" y="252918"/>
                </a:cubicBezTo>
                <a:lnTo>
                  <a:pt x="323593" y="253927"/>
                </a:lnTo>
                <a:cubicBezTo>
                  <a:pt x="306428" y="321574"/>
                  <a:pt x="252412" y="363474"/>
                  <a:pt x="173660" y="363474"/>
                </a:cubicBezTo>
                <a:cubicBezTo>
                  <a:pt x="74209" y="363474"/>
                  <a:pt x="0" y="293304"/>
                  <a:pt x="0" y="186786"/>
                </a:cubicBezTo>
                <a:cubicBezTo>
                  <a:pt x="0" y="76229"/>
                  <a:pt x="85820" y="0"/>
                  <a:pt x="190319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9" name="TextBox 68"/>
          <p:cNvSpPr txBox="1">
            <a:spLocks/>
          </p:cNvSpPr>
          <p:nvPr/>
        </p:nvSpPr>
        <p:spPr>
          <a:xfrm>
            <a:off x="11640919" y="842827"/>
            <a:ext cx="167232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0" name="TextBox 69"/>
          <p:cNvSpPr txBox="1">
            <a:spLocks/>
          </p:cNvSpPr>
          <p:nvPr/>
        </p:nvSpPr>
        <p:spPr>
          <a:xfrm>
            <a:off x="11457735" y="843060"/>
            <a:ext cx="172117" cy="164863"/>
          </a:xfrm>
          <a:custGeom>
            <a:avLst/>
            <a:gdLst/>
            <a:ahLst/>
            <a:cxnLst/>
            <a:rect l="l" t="t" r="r" b="b"/>
            <a:pathLst>
              <a:path w="373571" h="357921">
                <a:moveTo>
                  <a:pt x="17164" y="0"/>
                </a:moveTo>
                <a:cubicBezTo>
                  <a:pt x="24232" y="3534"/>
                  <a:pt x="35338" y="4544"/>
                  <a:pt x="52502" y="4544"/>
                </a:cubicBezTo>
                <a:lnTo>
                  <a:pt x="321069" y="4544"/>
                </a:lnTo>
                <a:cubicBezTo>
                  <a:pt x="338233" y="4544"/>
                  <a:pt x="349339" y="3534"/>
                  <a:pt x="356407" y="0"/>
                </a:cubicBezTo>
                <a:lnTo>
                  <a:pt x="373571" y="119644"/>
                </a:lnTo>
                <a:lnTo>
                  <a:pt x="372561" y="119644"/>
                </a:lnTo>
                <a:cubicBezTo>
                  <a:pt x="329651" y="50988"/>
                  <a:pt x="309963" y="17669"/>
                  <a:pt x="255946" y="17669"/>
                </a:cubicBezTo>
                <a:lnTo>
                  <a:pt x="234239" y="17669"/>
                </a:lnTo>
                <a:lnTo>
                  <a:pt x="234239" y="297847"/>
                </a:lnTo>
                <a:cubicBezTo>
                  <a:pt x="234239" y="331165"/>
                  <a:pt x="240802" y="342272"/>
                  <a:pt x="263014" y="356912"/>
                </a:cubicBezTo>
                <a:lnTo>
                  <a:pt x="263014" y="357921"/>
                </a:lnTo>
                <a:lnTo>
                  <a:pt x="110557" y="357921"/>
                </a:lnTo>
                <a:lnTo>
                  <a:pt x="110557" y="356912"/>
                </a:lnTo>
                <a:cubicBezTo>
                  <a:pt x="133274" y="342272"/>
                  <a:pt x="139332" y="331165"/>
                  <a:pt x="139332" y="297847"/>
                </a:cubicBezTo>
                <a:lnTo>
                  <a:pt x="139332" y="17669"/>
                </a:lnTo>
                <a:lnTo>
                  <a:pt x="117624" y="17669"/>
                </a:lnTo>
                <a:cubicBezTo>
                  <a:pt x="63608" y="17669"/>
                  <a:pt x="43920" y="50988"/>
                  <a:pt x="1010" y="119644"/>
                </a:cubicBezTo>
                <a:lnTo>
                  <a:pt x="0" y="119644"/>
                </a:lnTo>
                <a:lnTo>
                  <a:pt x="17164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11001879" y="849615"/>
            <a:ext cx="276881" cy="61257"/>
            <a:chOff x="10999013" y="849614"/>
            <a:chExt cx="276809" cy="61257"/>
          </a:xfrm>
          <a:solidFill>
            <a:schemeClr val="accent3"/>
          </a:solidFill>
        </p:grpSpPr>
        <p:sp>
          <p:nvSpPr>
            <p:cNvPr id="71" name="TextBox 70"/>
            <p:cNvSpPr txBox="1">
              <a:spLocks/>
            </p:cNvSpPr>
            <p:nvPr/>
          </p:nvSpPr>
          <p:spPr>
            <a:xfrm>
              <a:off x="10999013" y="849614"/>
              <a:ext cx="60220" cy="61257"/>
            </a:xfrm>
            <a:custGeom>
              <a:avLst/>
              <a:gdLst/>
              <a:ahLst/>
              <a:cxnLst/>
              <a:rect l="l" t="t" r="r" b="b"/>
              <a:pathLst>
                <a:path w="130738" h="132991">
                  <a:moveTo>
                    <a:pt x="65709" y="0"/>
                  </a:moveTo>
                  <a:cubicBezTo>
                    <a:pt x="86122" y="0"/>
                    <a:pt x="102063" y="5891"/>
                    <a:pt x="113533" y="17673"/>
                  </a:cubicBezTo>
                  <a:cubicBezTo>
                    <a:pt x="125003" y="29455"/>
                    <a:pt x="130738" y="45715"/>
                    <a:pt x="130738" y="66451"/>
                  </a:cubicBezTo>
                  <a:cubicBezTo>
                    <a:pt x="130738" y="87129"/>
                    <a:pt x="124987" y="103389"/>
                    <a:pt x="113485" y="115230"/>
                  </a:cubicBezTo>
                  <a:cubicBezTo>
                    <a:pt x="101982" y="127071"/>
                    <a:pt x="85992" y="132991"/>
                    <a:pt x="65515" y="132991"/>
                  </a:cubicBezTo>
                  <a:cubicBezTo>
                    <a:pt x="44584" y="132991"/>
                    <a:pt x="28432" y="127174"/>
                    <a:pt x="17059" y="115539"/>
                  </a:cubicBezTo>
                  <a:cubicBezTo>
                    <a:pt x="5686" y="103904"/>
                    <a:pt x="0" y="87483"/>
                    <a:pt x="0" y="66275"/>
                  </a:cubicBezTo>
                  <a:cubicBezTo>
                    <a:pt x="0" y="45243"/>
                    <a:pt x="5702" y="28940"/>
                    <a:pt x="17107" y="17364"/>
                  </a:cubicBezTo>
                  <a:cubicBezTo>
                    <a:pt x="28513" y="5788"/>
                    <a:pt x="44713" y="0"/>
                    <a:pt x="65709" y="0"/>
                  </a:cubicBezTo>
                  <a:close/>
                  <a:moveTo>
                    <a:pt x="65709" y="13431"/>
                  </a:moveTo>
                  <a:cubicBezTo>
                    <a:pt x="49962" y="13431"/>
                    <a:pt x="37990" y="17953"/>
                    <a:pt x="29793" y="26996"/>
                  </a:cubicBezTo>
                  <a:cubicBezTo>
                    <a:pt x="21595" y="36038"/>
                    <a:pt x="17496" y="49190"/>
                    <a:pt x="17496" y="66451"/>
                  </a:cubicBezTo>
                  <a:cubicBezTo>
                    <a:pt x="17496" y="83948"/>
                    <a:pt x="21595" y="97218"/>
                    <a:pt x="29793" y="106261"/>
                  </a:cubicBezTo>
                  <a:cubicBezTo>
                    <a:pt x="37990" y="115303"/>
                    <a:pt x="49897" y="119825"/>
                    <a:pt x="65515" y="119825"/>
                  </a:cubicBezTo>
                  <a:cubicBezTo>
                    <a:pt x="81262" y="119825"/>
                    <a:pt x="93153" y="115318"/>
                    <a:pt x="101188" y="106305"/>
                  </a:cubicBezTo>
                  <a:cubicBezTo>
                    <a:pt x="109224" y="97291"/>
                    <a:pt x="113242" y="84007"/>
                    <a:pt x="113242" y="66451"/>
                  </a:cubicBezTo>
                  <a:cubicBezTo>
                    <a:pt x="113242" y="49073"/>
                    <a:pt x="109240" y="35891"/>
                    <a:pt x="101237" y="26907"/>
                  </a:cubicBezTo>
                  <a:cubicBezTo>
                    <a:pt x="93234" y="17923"/>
                    <a:pt x="81391" y="13431"/>
                    <a:pt x="65709" y="13431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2" name="TextBox 71"/>
            <p:cNvSpPr txBox="1">
              <a:spLocks/>
            </p:cNvSpPr>
            <p:nvPr/>
          </p:nvSpPr>
          <p:spPr>
            <a:xfrm>
              <a:off x="11068225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60620"/>
                  </a:lnTo>
                  <a:lnTo>
                    <a:pt x="75430" y="60620"/>
                  </a:lnTo>
                  <a:lnTo>
                    <a:pt x="75430" y="73963"/>
                  </a:lnTo>
                  <a:lnTo>
                    <a:pt x="16525" y="73963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3" name="TextBox 72"/>
            <p:cNvSpPr txBox="1">
              <a:spLocks/>
            </p:cNvSpPr>
            <p:nvPr/>
          </p:nvSpPr>
          <p:spPr>
            <a:xfrm>
              <a:off x="11121455" y="850549"/>
              <a:ext cx="49071" cy="59507"/>
            </a:xfrm>
            <a:custGeom>
              <a:avLst/>
              <a:gdLst/>
              <a:ahLst/>
              <a:cxnLst/>
              <a:rect l="l" t="t" r="r" b="b"/>
              <a:pathLst>
                <a:path w="106535" h="129192">
                  <a:moveTo>
                    <a:pt x="0" y="0"/>
                  </a:moveTo>
                  <a:lnTo>
                    <a:pt x="106535" y="0"/>
                  </a:lnTo>
                  <a:lnTo>
                    <a:pt x="106535" y="13343"/>
                  </a:lnTo>
                  <a:lnTo>
                    <a:pt x="61530" y="13343"/>
                  </a:lnTo>
                  <a:lnTo>
                    <a:pt x="61530" y="129192"/>
                  </a:lnTo>
                  <a:lnTo>
                    <a:pt x="45005" y="129192"/>
                  </a:lnTo>
                  <a:lnTo>
                    <a:pt x="45005" y="13343"/>
                  </a:lnTo>
                  <a:lnTo>
                    <a:pt x="0" y="1334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4" name="TextBox 73"/>
            <p:cNvSpPr txBox="1">
              <a:spLocks/>
            </p:cNvSpPr>
            <p:nvPr/>
          </p:nvSpPr>
          <p:spPr>
            <a:xfrm>
              <a:off x="11177909" y="850549"/>
              <a:ext cx="49698" cy="59507"/>
            </a:xfrm>
            <a:custGeom>
              <a:avLst/>
              <a:gdLst/>
              <a:ahLst/>
              <a:cxnLst/>
              <a:rect l="l" t="t" r="r" b="b"/>
              <a:pathLst>
                <a:path w="107896" h="129192">
                  <a:moveTo>
                    <a:pt x="0" y="0"/>
                  </a:moveTo>
                  <a:lnTo>
                    <a:pt x="16525" y="0"/>
                  </a:lnTo>
                  <a:lnTo>
                    <a:pt x="16525" y="54964"/>
                  </a:lnTo>
                  <a:lnTo>
                    <a:pt x="91371" y="54964"/>
                  </a:lnTo>
                  <a:lnTo>
                    <a:pt x="91371" y="0"/>
                  </a:lnTo>
                  <a:lnTo>
                    <a:pt x="107896" y="0"/>
                  </a:lnTo>
                  <a:lnTo>
                    <a:pt x="107896" y="129192"/>
                  </a:lnTo>
                  <a:lnTo>
                    <a:pt x="91371" y="129192"/>
                  </a:lnTo>
                  <a:lnTo>
                    <a:pt x="91371" y="68396"/>
                  </a:lnTo>
                  <a:lnTo>
                    <a:pt x="16525" y="68396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5" name="TextBox 74"/>
            <p:cNvSpPr txBox="1">
              <a:spLocks/>
            </p:cNvSpPr>
            <p:nvPr/>
          </p:nvSpPr>
          <p:spPr>
            <a:xfrm>
              <a:off x="11239332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54964"/>
                  </a:lnTo>
                  <a:lnTo>
                    <a:pt x="75430" y="54964"/>
                  </a:lnTo>
                  <a:lnTo>
                    <a:pt x="75430" y="68219"/>
                  </a:lnTo>
                  <a:lnTo>
                    <a:pt x="16525" y="68219"/>
                  </a:lnTo>
                  <a:lnTo>
                    <a:pt x="16525" y="115760"/>
                  </a:lnTo>
                  <a:lnTo>
                    <a:pt x="79221" y="115760"/>
                  </a:lnTo>
                  <a:lnTo>
                    <a:pt x="79221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62" name="Freeform 9"/>
          <p:cNvSpPr>
            <a:spLocks noEditPoints="1"/>
          </p:cNvSpPr>
          <p:nvPr/>
        </p:nvSpPr>
        <p:spPr bwMode="auto">
          <a:xfrm>
            <a:off x="10579888" y="371026"/>
            <a:ext cx="1417689" cy="783522"/>
          </a:xfrm>
          <a:custGeom>
            <a:avLst/>
            <a:gdLst>
              <a:gd name="T0" fmla="*/ 279 w 326"/>
              <a:gd name="T1" fmla="*/ 180 h 180"/>
              <a:gd name="T2" fmla="*/ 271 w 326"/>
              <a:gd name="T3" fmla="*/ 179 h 180"/>
              <a:gd name="T4" fmla="*/ 45 w 326"/>
              <a:gd name="T5" fmla="*/ 179 h 180"/>
              <a:gd name="T6" fmla="*/ 6 w 326"/>
              <a:gd name="T7" fmla="*/ 153 h 180"/>
              <a:gd name="T8" fmla="*/ 0 w 326"/>
              <a:gd name="T9" fmla="*/ 129 h 180"/>
              <a:gd name="T10" fmla="*/ 32 w 326"/>
              <a:gd name="T11" fmla="*/ 82 h 180"/>
              <a:gd name="T12" fmla="*/ 30 w 326"/>
              <a:gd name="T13" fmla="*/ 70 h 180"/>
              <a:gd name="T14" fmla="*/ 100 w 326"/>
              <a:gd name="T15" fmla="*/ 0 h 180"/>
              <a:gd name="T16" fmla="*/ 154 w 326"/>
              <a:gd name="T17" fmla="*/ 26 h 180"/>
              <a:gd name="T18" fmla="*/ 187 w 326"/>
              <a:gd name="T19" fmla="*/ 16 h 180"/>
              <a:gd name="T20" fmla="*/ 242 w 326"/>
              <a:gd name="T21" fmla="*/ 55 h 180"/>
              <a:gd name="T22" fmla="*/ 245 w 326"/>
              <a:gd name="T23" fmla="*/ 54 h 180"/>
              <a:gd name="T24" fmla="*/ 280 w 326"/>
              <a:gd name="T25" fmla="*/ 85 h 180"/>
              <a:gd name="T26" fmla="*/ 326 w 326"/>
              <a:gd name="T27" fmla="*/ 132 h 180"/>
              <a:gd name="T28" fmla="*/ 279 w 326"/>
              <a:gd name="T29" fmla="*/ 180 h 180"/>
              <a:gd name="T30" fmla="*/ 100 w 326"/>
              <a:gd name="T31" fmla="*/ 4 h 180"/>
              <a:gd name="T32" fmla="*/ 34 w 326"/>
              <a:gd name="T33" fmla="*/ 70 h 180"/>
              <a:gd name="T34" fmla="*/ 36 w 326"/>
              <a:gd name="T35" fmla="*/ 83 h 180"/>
              <a:gd name="T36" fmla="*/ 36 w 326"/>
              <a:gd name="T37" fmla="*/ 85 h 180"/>
              <a:gd name="T38" fmla="*/ 35 w 326"/>
              <a:gd name="T39" fmla="*/ 86 h 180"/>
              <a:gd name="T40" fmla="*/ 4 w 326"/>
              <a:gd name="T41" fmla="*/ 129 h 180"/>
              <a:gd name="T42" fmla="*/ 10 w 326"/>
              <a:gd name="T43" fmla="*/ 151 h 180"/>
              <a:gd name="T44" fmla="*/ 10 w 326"/>
              <a:gd name="T45" fmla="*/ 151 h 180"/>
              <a:gd name="T46" fmla="*/ 45 w 326"/>
              <a:gd name="T47" fmla="*/ 175 h 180"/>
              <a:gd name="T48" fmla="*/ 271 w 326"/>
              <a:gd name="T49" fmla="*/ 175 h 180"/>
              <a:gd name="T50" fmla="*/ 272 w 326"/>
              <a:gd name="T51" fmla="*/ 175 h 180"/>
              <a:gd name="T52" fmla="*/ 279 w 326"/>
              <a:gd name="T53" fmla="*/ 176 h 180"/>
              <a:gd name="T54" fmla="*/ 322 w 326"/>
              <a:gd name="T55" fmla="*/ 132 h 180"/>
              <a:gd name="T56" fmla="*/ 279 w 326"/>
              <a:gd name="T57" fmla="*/ 89 h 180"/>
              <a:gd name="T58" fmla="*/ 278 w 326"/>
              <a:gd name="T59" fmla="*/ 89 h 180"/>
              <a:gd name="T60" fmla="*/ 276 w 326"/>
              <a:gd name="T61" fmla="*/ 89 h 180"/>
              <a:gd name="T62" fmla="*/ 276 w 326"/>
              <a:gd name="T63" fmla="*/ 87 h 180"/>
              <a:gd name="T64" fmla="*/ 245 w 326"/>
              <a:gd name="T65" fmla="*/ 58 h 180"/>
              <a:gd name="T66" fmla="*/ 240 w 326"/>
              <a:gd name="T67" fmla="*/ 59 h 180"/>
              <a:gd name="T68" fmla="*/ 239 w 326"/>
              <a:gd name="T69" fmla="*/ 59 h 180"/>
              <a:gd name="T70" fmla="*/ 238 w 326"/>
              <a:gd name="T71" fmla="*/ 57 h 180"/>
              <a:gd name="T72" fmla="*/ 187 w 326"/>
              <a:gd name="T73" fmla="*/ 20 h 180"/>
              <a:gd name="T74" fmla="*/ 155 w 326"/>
              <a:gd name="T75" fmla="*/ 30 h 180"/>
              <a:gd name="T76" fmla="*/ 153 w 326"/>
              <a:gd name="T77" fmla="*/ 31 h 180"/>
              <a:gd name="T78" fmla="*/ 152 w 326"/>
              <a:gd name="T79" fmla="*/ 30 h 180"/>
              <a:gd name="T80" fmla="*/ 100 w 326"/>
              <a:gd name="T81" fmla="*/ 4 h 1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326" h="180">
                <a:moveTo>
                  <a:pt x="279" y="180"/>
                </a:moveTo>
                <a:cubicBezTo>
                  <a:pt x="276" y="180"/>
                  <a:pt x="274" y="179"/>
                  <a:pt x="271" y="179"/>
                </a:cubicBezTo>
                <a:cubicBezTo>
                  <a:pt x="45" y="179"/>
                  <a:pt x="45" y="179"/>
                  <a:pt x="45" y="179"/>
                </a:cubicBezTo>
                <a:cubicBezTo>
                  <a:pt x="28" y="179"/>
                  <a:pt x="13" y="169"/>
                  <a:pt x="6" y="153"/>
                </a:cubicBezTo>
                <a:cubicBezTo>
                  <a:pt x="2" y="146"/>
                  <a:pt x="0" y="137"/>
                  <a:pt x="0" y="129"/>
                </a:cubicBezTo>
                <a:cubicBezTo>
                  <a:pt x="0" y="109"/>
                  <a:pt x="13" y="90"/>
                  <a:pt x="32" y="82"/>
                </a:cubicBezTo>
                <a:cubicBezTo>
                  <a:pt x="31" y="78"/>
                  <a:pt x="30" y="74"/>
                  <a:pt x="30" y="70"/>
                </a:cubicBezTo>
                <a:cubicBezTo>
                  <a:pt x="30" y="32"/>
                  <a:pt x="62" y="0"/>
                  <a:pt x="100" y="0"/>
                </a:cubicBezTo>
                <a:cubicBezTo>
                  <a:pt x="121" y="0"/>
                  <a:pt x="141" y="10"/>
                  <a:pt x="154" y="26"/>
                </a:cubicBezTo>
                <a:cubicBezTo>
                  <a:pt x="164" y="19"/>
                  <a:pt x="175" y="16"/>
                  <a:pt x="187" y="16"/>
                </a:cubicBezTo>
                <a:cubicBezTo>
                  <a:pt x="212" y="16"/>
                  <a:pt x="233" y="31"/>
                  <a:pt x="242" y="55"/>
                </a:cubicBezTo>
                <a:cubicBezTo>
                  <a:pt x="243" y="54"/>
                  <a:pt x="244" y="54"/>
                  <a:pt x="245" y="54"/>
                </a:cubicBezTo>
                <a:cubicBezTo>
                  <a:pt x="263" y="54"/>
                  <a:pt x="278" y="68"/>
                  <a:pt x="280" y="85"/>
                </a:cubicBezTo>
                <a:cubicBezTo>
                  <a:pt x="305" y="86"/>
                  <a:pt x="326" y="107"/>
                  <a:pt x="326" y="132"/>
                </a:cubicBezTo>
                <a:cubicBezTo>
                  <a:pt x="326" y="158"/>
                  <a:pt x="305" y="180"/>
                  <a:pt x="279" y="180"/>
                </a:cubicBezTo>
                <a:close/>
                <a:moveTo>
                  <a:pt x="100" y="4"/>
                </a:moveTo>
                <a:cubicBezTo>
                  <a:pt x="64" y="4"/>
                  <a:pt x="34" y="34"/>
                  <a:pt x="34" y="70"/>
                </a:cubicBezTo>
                <a:cubicBezTo>
                  <a:pt x="34" y="75"/>
                  <a:pt x="35" y="79"/>
                  <a:pt x="36" y="83"/>
                </a:cubicBezTo>
                <a:cubicBezTo>
                  <a:pt x="36" y="85"/>
                  <a:pt x="36" y="85"/>
                  <a:pt x="36" y="85"/>
                </a:cubicBezTo>
                <a:cubicBezTo>
                  <a:pt x="35" y="86"/>
                  <a:pt x="35" y="86"/>
                  <a:pt x="35" y="86"/>
                </a:cubicBezTo>
                <a:cubicBezTo>
                  <a:pt x="16" y="92"/>
                  <a:pt x="4" y="110"/>
                  <a:pt x="4" y="129"/>
                </a:cubicBezTo>
                <a:cubicBezTo>
                  <a:pt x="4" y="137"/>
                  <a:pt x="6" y="144"/>
                  <a:pt x="10" y="151"/>
                </a:cubicBezTo>
                <a:cubicBezTo>
                  <a:pt x="10" y="151"/>
                  <a:pt x="10" y="151"/>
                  <a:pt x="10" y="151"/>
                </a:cubicBezTo>
                <a:cubicBezTo>
                  <a:pt x="16" y="166"/>
                  <a:pt x="30" y="175"/>
                  <a:pt x="45" y="175"/>
                </a:cubicBezTo>
                <a:cubicBezTo>
                  <a:pt x="271" y="175"/>
                  <a:pt x="271" y="175"/>
                  <a:pt x="271" y="175"/>
                </a:cubicBezTo>
                <a:cubicBezTo>
                  <a:pt x="272" y="175"/>
                  <a:pt x="272" y="175"/>
                  <a:pt x="272" y="175"/>
                </a:cubicBezTo>
                <a:cubicBezTo>
                  <a:pt x="274" y="175"/>
                  <a:pt x="276" y="176"/>
                  <a:pt x="279" y="176"/>
                </a:cubicBezTo>
                <a:cubicBezTo>
                  <a:pt x="303" y="176"/>
                  <a:pt x="322" y="156"/>
                  <a:pt x="322" y="132"/>
                </a:cubicBezTo>
                <a:cubicBezTo>
                  <a:pt x="322" y="109"/>
                  <a:pt x="303" y="89"/>
                  <a:pt x="279" y="89"/>
                </a:cubicBezTo>
                <a:cubicBezTo>
                  <a:pt x="279" y="89"/>
                  <a:pt x="278" y="89"/>
                  <a:pt x="278" y="89"/>
                </a:cubicBezTo>
                <a:cubicBezTo>
                  <a:pt x="276" y="89"/>
                  <a:pt x="276" y="89"/>
                  <a:pt x="276" y="89"/>
                </a:cubicBezTo>
                <a:cubicBezTo>
                  <a:pt x="276" y="87"/>
                  <a:pt x="276" y="87"/>
                  <a:pt x="276" y="87"/>
                </a:cubicBezTo>
                <a:cubicBezTo>
                  <a:pt x="275" y="71"/>
                  <a:pt x="261" y="58"/>
                  <a:pt x="245" y="58"/>
                </a:cubicBezTo>
                <a:cubicBezTo>
                  <a:pt x="243" y="58"/>
                  <a:pt x="242" y="59"/>
                  <a:pt x="240" y="59"/>
                </a:cubicBezTo>
                <a:cubicBezTo>
                  <a:pt x="239" y="59"/>
                  <a:pt x="239" y="59"/>
                  <a:pt x="239" y="59"/>
                </a:cubicBezTo>
                <a:cubicBezTo>
                  <a:pt x="238" y="57"/>
                  <a:pt x="238" y="57"/>
                  <a:pt x="238" y="57"/>
                </a:cubicBezTo>
                <a:cubicBezTo>
                  <a:pt x="231" y="35"/>
                  <a:pt x="210" y="20"/>
                  <a:pt x="187" y="20"/>
                </a:cubicBezTo>
                <a:cubicBezTo>
                  <a:pt x="175" y="20"/>
                  <a:pt x="164" y="23"/>
                  <a:pt x="155" y="30"/>
                </a:cubicBezTo>
                <a:cubicBezTo>
                  <a:pt x="153" y="31"/>
                  <a:pt x="153" y="31"/>
                  <a:pt x="153" y="31"/>
                </a:cubicBezTo>
                <a:cubicBezTo>
                  <a:pt x="152" y="30"/>
                  <a:pt x="152" y="30"/>
                  <a:pt x="152" y="30"/>
                </a:cubicBezTo>
                <a:cubicBezTo>
                  <a:pt x="139" y="14"/>
                  <a:pt x="121" y="4"/>
                  <a:pt x="100" y="4"/>
                </a:cubicBezTo>
                <a:close/>
              </a:path>
            </a:pathLst>
          </a:custGeom>
          <a:solidFill>
            <a:srgbClr val="34697F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457200" y="2011681"/>
            <a:ext cx="11272838" cy="4174867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Body text</a:t>
            </a: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ternate Intern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0744386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18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/>
          <p:cNvSpPr/>
          <p:nvPr/>
        </p:nvSpPr>
        <p:spPr>
          <a:xfrm flipH="1">
            <a:off x="-2" y="1549668"/>
            <a:ext cx="4297680" cy="5308333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solidFill>
                <a:schemeClr val="bg2">
                  <a:lumMod val="20000"/>
                  <a:lumOff val="80000"/>
                </a:scheme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0" y="1"/>
            <a:ext cx="12191996" cy="1554480"/>
          </a:xfrm>
          <a:prstGeom prst="rect">
            <a:avLst/>
          </a:prstGeom>
          <a:solidFill>
            <a:srgbClr val="064E69"/>
          </a:solidFill>
        </p:spPr>
        <p:txBody>
          <a:bodyPr wrap="square" lIns="548640" tIns="0" rIns="91440" bIns="0" anchor="ctr">
            <a:noAutofit/>
          </a:bodyPr>
          <a:lstStyle/>
          <a:p>
            <a:endParaRPr lang="en-US" sz="4000" b="1" dirty="0">
              <a:solidFill>
                <a:schemeClr val="bg1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-1" y="1448246"/>
            <a:ext cx="12192127" cy="106731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cxnSp>
        <p:nvCxnSpPr>
          <p:cNvPr id="7" name="Straight Connector 6"/>
          <p:cNvCxnSpPr/>
          <p:nvPr/>
        </p:nvCxnSpPr>
        <p:spPr>
          <a:xfrm>
            <a:off x="10363874" y="222724"/>
            <a:ext cx="0" cy="1032988"/>
          </a:xfrm>
          <a:prstGeom prst="line">
            <a:avLst/>
          </a:prstGeom>
          <a:ln w="15875" cmpd="sng">
            <a:solidFill>
              <a:schemeClr val="accent2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Content Placeholder 8"/>
          <p:cNvSpPr txBox="1">
            <a:spLocks/>
          </p:cNvSpPr>
          <p:nvPr/>
        </p:nvSpPr>
        <p:spPr>
          <a:xfrm>
            <a:off x="547922" y="6418626"/>
            <a:ext cx="2383745" cy="2286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sz="800" dirty="0">
                <a:solidFill>
                  <a:schemeClr val="tx2">
                    <a:lumMod val="40000"/>
                    <a:lumOff val="6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©2018</a:t>
            </a:r>
          </a:p>
        </p:txBody>
      </p:sp>
      <p:grpSp>
        <p:nvGrpSpPr>
          <p:cNvPr id="40" name="Group 39"/>
          <p:cNvGrpSpPr/>
          <p:nvPr/>
        </p:nvGrpSpPr>
        <p:grpSpPr>
          <a:xfrm>
            <a:off x="10579888" y="371026"/>
            <a:ext cx="1417689" cy="783522"/>
            <a:chOff x="10577133" y="371026"/>
            <a:chExt cx="1417320" cy="783522"/>
          </a:xfrm>
        </p:grpSpPr>
        <p:sp>
          <p:nvSpPr>
            <p:cNvPr id="25" name="TextBox 24"/>
            <p:cNvSpPr txBox="1">
              <a:spLocks/>
            </p:cNvSpPr>
            <p:nvPr/>
          </p:nvSpPr>
          <p:spPr>
            <a:xfrm>
              <a:off x="11006005" y="633221"/>
              <a:ext cx="224154" cy="176024"/>
            </a:xfrm>
            <a:custGeom>
              <a:avLst/>
              <a:gdLst/>
              <a:ahLst/>
              <a:cxnLst/>
              <a:rect l="l" t="t" r="r" b="b"/>
              <a:pathLst>
                <a:path w="486642" h="382152">
                  <a:moveTo>
                    <a:pt x="150943" y="0"/>
                  </a:moveTo>
                  <a:cubicBezTo>
                    <a:pt x="191582" y="0"/>
                    <a:pt x="224490" y="12368"/>
                    <a:pt x="232082" y="39810"/>
                  </a:cubicBezTo>
                  <a:lnTo>
                    <a:pt x="232262" y="41192"/>
                  </a:lnTo>
                  <a:lnTo>
                    <a:pt x="244394" y="27828"/>
                  </a:lnTo>
                  <a:cubicBezTo>
                    <a:pt x="265912" y="9086"/>
                    <a:pt x="296328" y="0"/>
                    <a:pt x="331918" y="0"/>
                  </a:cubicBezTo>
                  <a:cubicBezTo>
                    <a:pt x="355140" y="0"/>
                    <a:pt x="375838" y="4038"/>
                    <a:pt x="390730" y="12620"/>
                  </a:cubicBezTo>
                  <a:lnTo>
                    <a:pt x="399550" y="19037"/>
                  </a:lnTo>
                  <a:lnTo>
                    <a:pt x="415123" y="9213"/>
                  </a:lnTo>
                  <a:cubicBezTo>
                    <a:pt x="421204" y="6846"/>
                    <a:pt x="427956" y="5553"/>
                    <a:pt x="435150" y="5553"/>
                  </a:cubicBezTo>
                  <a:cubicBezTo>
                    <a:pt x="464430" y="5553"/>
                    <a:pt x="486642" y="26250"/>
                    <a:pt x="486642" y="53511"/>
                  </a:cubicBezTo>
                  <a:cubicBezTo>
                    <a:pt x="486642" y="80772"/>
                    <a:pt x="464430" y="101974"/>
                    <a:pt x="435150" y="101974"/>
                  </a:cubicBezTo>
                  <a:cubicBezTo>
                    <a:pt x="420763" y="101974"/>
                    <a:pt x="408142" y="96674"/>
                    <a:pt x="399118" y="87965"/>
                  </a:cubicBezTo>
                  <a:lnTo>
                    <a:pt x="397141" y="85099"/>
                  </a:lnTo>
                  <a:lnTo>
                    <a:pt x="387023" y="90979"/>
                  </a:lnTo>
                  <a:cubicBezTo>
                    <a:pt x="381675" y="92887"/>
                    <a:pt x="375838" y="93897"/>
                    <a:pt x="369780" y="93897"/>
                  </a:cubicBezTo>
                  <a:cubicBezTo>
                    <a:pt x="355140" y="93897"/>
                    <a:pt x="342015" y="89354"/>
                    <a:pt x="335452" y="81781"/>
                  </a:cubicBezTo>
                  <a:cubicBezTo>
                    <a:pt x="350092" y="78247"/>
                    <a:pt x="359179" y="66132"/>
                    <a:pt x="359179" y="42910"/>
                  </a:cubicBezTo>
                  <a:cubicBezTo>
                    <a:pt x="359179" y="22717"/>
                    <a:pt x="350597" y="8077"/>
                    <a:pt x="331918" y="8077"/>
                  </a:cubicBezTo>
                  <a:cubicBezTo>
                    <a:pt x="308696" y="8077"/>
                    <a:pt x="300619" y="29784"/>
                    <a:pt x="300619" y="58054"/>
                  </a:cubicBezTo>
                  <a:lnTo>
                    <a:pt x="300619" y="132264"/>
                  </a:lnTo>
                  <a:lnTo>
                    <a:pt x="363217" y="132264"/>
                  </a:lnTo>
                  <a:lnTo>
                    <a:pt x="360693" y="144884"/>
                  </a:lnTo>
                  <a:lnTo>
                    <a:pt x="300619" y="144884"/>
                  </a:lnTo>
                  <a:lnTo>
                    <a:pt x="300619" y="327126"/>
                  </a:lnTo>
                  <a:cubicBezTo>
                    <a:pt x="300619" y="360445"/>
                    <a:pt x="312230" y="369027"/>
                    <a:pt x="339490" y="381142"/>
                  </a:cubicBezTo>
                  <a:lnTo>
                    <a:pt x="339490" y="382152"/>
                  </a:lnTo>
                  <a:lnTo>
                    <a:pt x="186529" y="382152"/>
                  </a:lnTo>
                  <a:lnTo>
                    <a:pt x="186529" y="381142"/>
                  </a:lnTo>
                  <a:cubicBezTo>
                    <a:pt x="208741" y="367007"/>
                    <a:pt x="210255" y="360445"/>
                    <a:pt x="210255" y="327126"/>
                  </a:cubicBezTo>
                  <a:lnTo>
                    <a:pt x="210255" y="144884"/>
                  </a:lnTo>
                  <a:lnTo>
                    <a:pt x="180976" y="144884"/>
                  </a:lnTo>
                  <a:lnTo>
                    <a:pt x="180976" y="139331"/>
                  </a:lnTo>
                  <a:lnTo>
                    <a:pt x="210255" y="128225"/>
                  </a:lnTo>
                  <a:lnTo>
                    <a:pt x="210255" y="113585"/>
                  </a:lnTo>
                  <a:lnTo>
                    <a:pt x="212504" y="87227"/>
                  </a:lnTo>
                  <a:lnTo>
                    <a:pt x="206048" y="90979"/>
                  </a:lnTo>
                  <a:cubicBezTo>
                    <a:pt x="200700" y="92887"/>
                    <a:pt x="194863" y="93897"/>
                    <a:pt x="188805" y="93897"/>
                  </a:cubicBezTo>
                  <a:cubicBezTo>
                    <a:pt x="174165" y="93897"/>
                    <a:pt x="161040" y="89354"/>
                    <a:pt x="154477" y="81781"/>
                  </a:cubicBezTo>
                  <a:cubicBezTo>
                    <a:pt x="169117" y="78247"/>
                    <a:pt x="178204" y="66132"/>
                    <a:pt x="178204" y="42910"/>
                  </a:cubicBezTo>
                  <a:cubicBezTo>
                    <a:pt x="178204" y="22717"/>
                    <a:pt x="169622" y="8077"/>
                    <a:pt x="150943" y="8077"/>
                  </a:cubicBezTo>
                  <a:cubicBezTo>
                    <a:pt x="127721" y="8077"/>
                    <a:pt x="119644" y="29784"/>
                    <a:pt x="119644" y="58054"/>
                  </a:cubicBezTo>
                  <a:lnTo>
                    <a:pt x="119644" y="132264"/>
                  </a:lnTo>
                  <a:lnTo>
                    <a:pt x="182242" y="132264"/>
                  </a:lnTo>
                  <a:lnTo>
                    <a:pt x="179718" y="144884"/>
                  </a:lnTo>
                  <a:lnTo>
                    <a:pt x="119644" y="144884"/>
                  </a:lnTo>
                  <a:lnTo>
                    <a:pt x="119644" y="327126"/>
                  </a:lnTo>
                  <a:cubicBezTo>
                    <a:pt x="119644" y="360445"/>
                    <a:pt x="131255" y="369027"/>
                    <a:pt x="158516" y="381142"/>
                  </a:cubicBezTo>
                  <a:lnTo>
                    <a:pt x="158516" y="382152"/>
                  </a:lnTo>
                  <a:lnTo>
                    <a:pt x="5554" y="382152"/>
                  </a:lnTo>
                  <a:lnTo>
                    <a:pt x="5554" y="381142"/>
                  </a:lnTo>
                  <a:cubicBezTo>
                    <a:pt x="27766" y="367007"/>
                    <a:pt x="29280" y="360445"/>
                    <a:pt x="29280" y="327126"/>
                  </a:cubicBezTo>
                  <a:lnTo>
                    <a:pt x="29280" y="144884"/>
                  </a:lnTo>
                  <a:lnTo>
                    <a:pt x="0" y="144884"/>
                  </a:lnTo>
                  <a:lnTo>
                    <a:pt x="0" y="139331"/>
                  </a:lnTo>
                  <a:lnTo>
                    <a:pt x="29280" y="128225"/>
                  </a:lnTo>
                  <a:lnTo>
                    <a:pt x="29280" y="113585"/>
                  </a:lnTo>
                  <a:cubicBezTo>
                    <a:pt x="29280" y="36347"/>
                    <a:pt x="79763" y="0"/>
                    <a:pt x="150943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6" name="TextBox 25"/>
            <p:cNvSpPr txBox="1">
              <a:spLocks/>
            </p:cNvSpPr>
            <p:nvPr/>
          </p:nvSpPr>
          <p:spPr>
            <a:xfrm>
              <a:off x="10825458" y="644149"/>
              <a:ext cx="167188" cy="167421"/>
            </a:xfrm>
            <a:custGeom>
              <a:avLst/>
              <a:gdLst/>
              <a:ahLst/>
              <a:cxnLst/>
              <a:rect l="l" t="t" r="r" b="b"/>
              <a:pathLst>
                <a:path w="362969" h="363474">
                  <a:moveTo>
                    <a:pt x="181737" y="0"/>
                  </a:moveTo>
                  <a:cubicBezTo>
                    <a:pt x="285731" y="0"/>
                    <a:pt x="362969" y="75724"/>
                    <a:pt x="362969" y="181737"/>
                  </a:cubicBezTo>
                  <a:cubicBezTo>
                    <a:pt x="362969" y="287751"/>
                    <a:pt x="285731" y="363474"/>
                    <a:pt x="181737" y="363474"/>
                  </a:cubicBezTo>
                  <a:cubicBezTo>
                    <a:pt x="77238" y="363474"/>
                    <a:pt x="0" y="287751"/>
                    <a:pt x="0" y="181737"/>
                  </a:cubicBezTo>
                  <a:cubicBezTo>
                    <a:pt x="0" y="75724"/>
                    <a:pt x="77238" y="0"/>
                    <a:pt x="181737" y="0"/>
                  </a:cubicBezTo>
                  <a:close/>
                  <a:moveTo>
                    <a:pt x="181737" y="10097"/>
                  </a:moveTo>
                  <a:cubicBezTo>
                    <a:pt x="123682" y="10097"/>
                    <a:pt x="103994" y="70676"/>
                    <a:pt x="103994" y="181737"/>
                  </a:cubicBezTo>
                  <a:cubicBezTo>
                    <a:pt x="103994" y="292799"/>
                    <a:pt x="123682" y="353378"/>
                    <a:pt x="181737" y="353378"/>
                  </a:cubicBezTo>
                  <a:cubicBezTo>
                    <a:pt x="239287" y="353378"/>
                    <a:pt x="258975" y="292799"/>
                    <a:pt x="258975" y="181737"/>
                  </a:cubicBezTo>
                  <a:cubicBezTo>
                    <a:pt x="258975" y="70676"/>
                    <a:pt x="239287" y="10097"/>
                    <a:pt x="181737" y="1009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7" name="TextBox 26"/>
            <p:cNvSpPr txBox="1">
              <a:spLocks/>
            </p:cNvSpPr>
            <p:nvPr/>
          </p:nvSpPr>
          <p:spPr>
            <a:xfrm>
              <a:off x="11249402" y="691818"/>
              <a:ext cx="113009" cy="119752"/>
            </a:xfrm>
            <a:custGeom>
              <a:avLst/>
              <a:gdLst/>
              <a:ahLst/>
              <a:cxnLst/>
              <a:rect l="l" t="t" r="r" b="b"/>
              <a:pathLst>
                <a:path w="245345" h="259984">
                  <a:moveTo>
                    <a:pt x="144885" y="0"/>
                  </a:moveTo>
                  <a:cubicBezTo>
                    <a:pt x="199406" y="0"/>
                    <a:pt x="240297" y="23726"/>
                    <a:pt x="240297" y="65122"/>
                  </a:cubicBezTo>
                  <a:cubicBezTo>
                    <a:pt x="240297" y="95411"/>
                    <a:pt x="217075" y="111061"/>
                    <a:pt x="192843" y="111061"/>
                  </a:cubicBezTo>
                  <a:cubicBezTo>
                    <a:pt x="166087" y="111061"/>
                    <a:pt x="150438" y="96421"/>
                    <a:pt x="148923" y="81781"/>
                  </a:cubicBezTo>
                  <a:cubicBezTo>
                    <a:pt x="151952" y="82791"/>
                    <a:pt x="155486" y="83296"/>
                    <a:pt x="158010" y="83296"/>
                  </a:cubicBezTo>
                  <a:cubicBezTo>
                    <a:pt x="176689" y="83296"/>
                    <a:pt x="184261" y="67646"/>
                    <a:pt x="184261" y="48463"/>
                  </a:cubicBezTo>
                  <a:cubicBezTo>
                    <a:pt x="184261" y="24231"/>
                    <a:pt x="171136" y="8582"/>
                    <a:pt x="145894" y="8582"/>
                  </a:cubicBezTo>
                  <a:cubicBezTo>
                    <a:pt x="110557" y="8582"/>
                    <a:pt x="93897" y="54016"/>
                    <a:pt x="93897" y="112575"/>
                  </a:cubicBezTo>
                  <a:cubicBezTo>
                    <a:pt x="93897" y="181737"/>
                    <a:pt x="124692" y="218589"/>
                    <a:pt x="171640" y="218589"/>
                  </a:cubicBezTo>
                  <a:cubicBezTo>
                    <a:pt x="200415" y="218589"/>
                    <a:pt x="226666" y="204958"/>
                    <a:pt x="242316" y="173659"/>
                  </a:cubicBezTo>
                  <a:lnTo>
                    <a:pt x="245345" y="175174"/>
                  </a:lnTo>
                  <a:cubicBezTo>
                    <a:pt x="231210" y="229190"/>
                    <a:pt x="185775" y="259984"/>
                    <a:pt x="129740" y="259984"/>
                  </a:cubicBezTo>
                  <a:cubicBezTo>
                    <a:pt x="60074" y="259984"/>
                    <a:pt x="0" y="213036"/>
                    <a:pt x="0" y="134788"/>
                  </a:cubicBezTo>
                  <a:cubicBezTo>
                    <a:pt x="0" y="49977"/>
                    <a:pt x="63608" y="0"/>
                    <a:pt x="144885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8" name="TextBox 27"/>
            <p:cNvSpPr txBox="1">
              <a:spLocks/>
            </p:cNvSpPr>
            <p:nvPr/>
          </p:nvSpPr>
          <p:spPr>
            <a:xfrm>
              <a:off x="11372247" y="691818"/>
              <a:ext cx="116032" cy="119752"/>
            </a:xfrm>
            <a:custGeom>
              <a:avLst/>
              <a:gdLst/>
              <a:ahLst/>
              <a:cxnLst/>
              <a:rect l="l" t="t" r="r" b="b"/>
              <a:pathLst>
                <a:path w="251908" h="259984">
                  <a:moveTo>
                    <a:pt x="132264" y="0"/>
                  </a:moveTo>
                  <a:cubicBezTo>
                    <a:pt x="213541" y="0"/>
                    <a:pt x="251908" y="51996"/>
                    <a:pt x="251908" y="118633"/>
                  </a:cubicBezTo>
                  <a:lnTo>
                    <a:pt x="91373" y="118633"/>
                  </a:lnTo>
                  <a:cubicBezTo>
                    <a:pt x="91373" y="181232"/>
                    <a:pt x="124187" y="218589"/>
                    <a:pt x="172650" y="218589"/>
                  </a:cubicBezTo>
                  <a:cubicBezTo>
                    <a:pt x="203444" y="218589"/>
                    <a:pt x="230200" y="204958"/>
                    <a:pt x="245850" y="173659"/>
                  </a:cubicBezTo>
                  <a:lnTo>
                    <a:pt x="249383" y="175174"/>
                  </a:lnTo>
                  <a:cubicBezTo>
                    <a:pt x="234744" y="229190"/>
                    <a:pt x="189309" y="259984"/>
                    <a:pt x="131759" y="259984"/>
                  </a:cubicBezTo>
                  <a:cubicBezTo>
                    <a:pt x="59569" y="259984"/>
                    <a:pt x="0" y="212531"/>
                    <a:pt x="0" y="130244"/>
                  </a:cubicBezTo>
                  <a:cubicBezTo>
                    <a:pt x="0" y="50987"/>
                    <a:pt x="60074" y="0"/>
                    <a:pt x="132264" y="0"/>
                  </a:cubicBezTo>
                  <a:close/>
                  <a:moveTo>
                    <a:pt x="132264" y="8582"/>
                  </a:moveTo>
                  <a:cubicBezTo>
                    <a:pt x="106013" y="8582"/>
                    <a:pt x="92888" y="48463"/>
                    <a:pt x="91878" y="108032"/>
                  </a:cubicBezTo>
                  <a:lnTo>
                    <a:pt x="165078" y="108032"/>
                  </a:lnTo>
                  <a:cubicBezTo>
                    <a:pt x="165078" y="51492"/>
                    <a:pt x="161039" y="8582"/>
                    <a:pt x="132264" y="858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9" name="TextBox 28"/>
            <p:cNvSpPr txBox="1">
              <a:spLocks/>
            </p:cNvSpPr>
            <p:nvPr/>
          </p:nvSpPr>
          <p:spPr>
            <a:xfrm>
              <a:off x="11173887" y="694143"/>
              <a:ext cx="64875" cy="115102"/>
            </a:xfrm>
            <a:custGeom>
              <a:avLst/>
              <a:gdLst/>
              <a:ahLst/>
              <a:cxnLst/>
              <a:rect l="l" t="t" r="r" b="b"/>
              <a:pathLst>
                <a:path w="140846" h="249888">
                  <a:moveTo>
                    <a:pt x="0" y="0"/>
                  </a:moveTo>
                  <a:lnTo>
                    <a:pt x="117119" y="0"/>
                  </a:lnTo>
                  <a:lnTo>
                    <a:pt x="117119" y="194862"/>
                  </a:lnTo>
                  <a:cubicBezTo>
                    <a:pt x="117119" y="228181"/>
                    <a:pt x="118633" y="234743"/>
                    <a:pt x="140846" y="248878"/>
                  </a:cubicBezTo>
                  <a:lnTo>
                    <a:pt x="140846" y="249888"/>
                  </a:lnTo>
                  <a:lnTo>
                    <a:pt x="3029" y="249888"/>
                  </a:lnTo>
                  <a:lnTo>
                    <a:pt x="3029" y="248878"/>
                  </a:lnTo>
                  <a:cubicBezTo>
                    <a:pt x="25241" y="234743"/>
                    <a:pt x="26755" y="228181"/>
                    <a:pt x="26755" y="194862"/>
                  </a:cubicBezTo>
                  <a:lnTo>
                    <a:pt x="26755" y="56035"/>
                  </a:lnTo>
                  <a:cubicBezTo>
                    <a:pt x="26755" y="21707"/>
                    <a:pt x="23726" y="14640"/>
                    <a:pt x="0" y="1009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0" name="TextBox 29"/>
            <p:cNvSpPr txBox="1">
              <a:spLocks/>
            </p:cNvSpPr>
            <p:nvPr/>
          </p:nvSpPr>
          <p:spPr>
            <a:xfrm>
              <a:off x="11295676" y="842826"/>
              <a:ext cx="149051" cy="167421"/>
            </a:xfrm>
            <a:custGeom>
              <a:avLst/>
              <a:gdLst/>
              <a:ahLst/>
              <a:cxnLst/>
              <a:rect l="l" t="t" r="r" b="b"/>
              <a:pathLst>
                <a:path w="323593" h="363474">
                  <a:moveTo>
                    <a:pt x="190319" y="0"/>
                  </a:moveTo>
                  <a:cubicBezTo>
                    <a:pt x="236258" y="0"/>
                    <a:pt x="260994" y="15145"/>
                    <a:pt x="277653" y="15145"/>
                  </a:cubicBezTo>
                  <a:cubicBezTo>
                    <a:pt x="291284" y="15145"/>
                    <a:pt x="299866" y="9087"/>
                    <a:pt x="310467" y="0"/>
                  </a:cubicBezTo>
                  <a:lnTo>
                    <a:pt x="314001" y="120149"/>
                  </a:lnTo>
                  <a:lnTo>
                    <a:pt x="312991" y="120149"/>
                  </a:lnTo>
                  <a:cubicBezTo>
                    <a:pt x="287750" y="56541"/>
                    <a:pt x="250393" y="11107"/>
                    <a:pt x="199910" y="11107"/>
                  </a:cubicBezTo>
                  <a:cubicBezTo>
                    <a:pt x="137312" y="11107"/>
                    <a:pt x="101974" y="80268"/>
                    <a:pt x="101974" y="164573"/>
                  </a:cubicBezTo>
                  <a:cubicBezTo>
                    <a:pt x="101974" y="260490"/>
                    <a:pt x="155486" y="315011"/>
                    <a:pt x="221113" y="315011"/>
                  </a:cubicBezTo>
                  <a:cubicBezTo>
                    <a:pt x="263014" y="315011"/>
                    <a:pt x="297846" y="300371"/>
                    <a:pt x="320564" y="252918"/>
                  </a:cubicBezTo>
                  <a:lnTo>
                    <a:pt x="323593" y="253927"/>
                  </a:lnTo>
                  <a:cubicBezTo>
                    <a:pt x="306428" y="321574"/>
                    <a:pt x="252412" y="363474"/>
                    <a:pt x="173660" y="363474"/>
                  </a:cubicBezTo>
                  <a:cubicBezTo>
                    <a:pt x="74209" y="363474"/>
                    <a:pt x="0" y="293304"/>
                    <a:pt x="0" y="186786"/>
                  </a:cubicBezTo>
                  <a:cubicBezTo>
                    <a:pt x="0" y="76229"/>
                    <a:pt x="85820" y="0"/>
                    <a:pt x="190319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1" name="TextBox 30"/>
            <p:cNvSpPr txBox="1">
              <a:spLocks/>
            </p:cNvSpPr>
            <p:nvPr/>
          </p:nvSpPr>
          <p:spPr>
            <a:xfrm>
              <a:off x="11637888" y="842826"/>
              <a:ext cx="167188" cy="167421"/>
            </a:xfrm>
            <a:custGeom>
              <a:avLst/>
              <a:gdLst/>
              <a:ahLst/>
              <a:cxnLst/>
              <a:rect l="l" t="t" r="r" b="b"/>
              <a:pathLst>
                <a:path w="362969" h="363474">
                  <a:moveTo>
                    <a:pt x="181737" y="0"/>
                  </a:moveTo>
                  <a:cubicBezTo>
                    <a:pt x="285731" y="0"/>
                    <a:pt x="362969" y="75724"/>
                    <a:pt x="362969" y="181737"/>
                  </a:cubicBezTo>
                  <a:cubicBezTo>
                    <a:pt x="362969" y="287751"/>
                    <a:pt x="285731" y="363474"/>
                    <a:pt x="181737" y="363474"/>
                  </a:cubicBezTo>
                  <a:cubicBezTo>
                    <a:pt x="77238" y="363474"/>
                    <a:pt x="0" y="287751"/>
                    <a:pt x="0" y="181737"/>
                  </a:cubicBezTo>
                  <a:cubicBezTo>
                    <a:pt x="0" y="75724"/>
                    <a:pt x="77238" y="0"/>
                    <a:pt x="181737" y="0"/>
                  </a:cubicBezTo>
                  <a:close/>
                  <a:moveTo>
                    <a:pt x="181737" y="10097"/>
                  </a:moveTo>
                  <a:cubicBezTo>
                    <a:pt x="123682" y="10097"/>
                    <a:pt x="103994" y="70676"/>
                    <a:pt x="103994" y="181737"/>
                  </a:cubicBezTo>
                  <a:cubicBezTo>
                    <a:pt x="103994" y="292799"/>
                    <a:pt x="123682" y="353378"/>
                    <a:pt x="181737" y="353378"/>
                  </a:cubicBezTo>
                  <a:cubicBezTo>
                    <a:pt x="239287" y="353378"/>
                    <a:pt x="258975" y="292799"/>
                    <a:pt x="258975" y="181737"/>
                  </a:cubicBezTo>
                  <a:cubicBezTo>
                    <a:pt x="258975" y="70676"/>
                    <a:pt x="239287" y="10097"/>
                    <a:pt x="181737" y="1009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2" name="TextBox 31"/>
            <p:cNvSpPr txBox="1">
              <a:spLocks/>
            </p:cNvSpPr>
            <p:nvPr/>
          </p:nvSpPr>
          <p:spPr>
            <a:xfrm>
              <a:off x="11454751" y="843059"/>
              <a:ext cx="172072" cy="164863"/>
            </a:xfrm>
            <a:custGeom>
              <a:avLst/>
              <a:gdLst/>
              <a:ahLst/>
              <a:cxnLst/>
              <a:rect l="l" t="t" r="r" b="b"/>
              <a:pathLst>
                <a:path w="373571" h="357921">
                  <a:moveTo>
                    <a:pt x="17164" y="0"/>
                  </a:moveTo>
                  <a:cubicBezTo>
                    <a:pt x="24232" y="3534"/>
                    <a:pt x="35338" y="4544"/>
                    <a:pt x="52502" y="4544"/>
                  </a:cubicBezTo>
                  <a:lnTo>
                    <a:pt x="321069" y="4544"/>
                  </a:lnTo>
                  <a:cubicBezTo>
                    <a:pt x="338233" y="4544"/>
                    <a:pt x="349339" y="3534"/>
                    <a:pt x="356407" y="0"/>
                  </a:cubicBezTo>
                  <a:lnTo>
                    <a:pt x="373571" y="119644"/>
                  </a:lnTo>
                  <a:lnTo>
                    <a:pt x="372561" y="119644"/>
                  </a:lnTo>
                  <a:cubicBezTo>
                    <a:pt x="329651" y="50988"/>
                    <a:pt x="309963" y="17669"/>
                    <a:pt x="255946" y="17669"/>
                  </a:cubicBezTo>
                  <a:lnTo>
                    <a:pt x="234239" y="17669"/>
                  </a:lnTo>
                  <a:lnTo>
                    <a:pt x="234239" y="297847"/>
                  </a:lnTo>
                  <a:cubicBezTo>
                    <a:pt x="234239" y="331165"/>
                    <a:pt x="240802" y="342272"/>
                    <a:pt x="263014" y="356912"/>
                  </a:cubicBezTo>
                  <a:lnTo>
                    <a:pt x="263014" y="357921"/>
                  </a:lnTo>
                  <a:lnTo>
                    <a:pt x="110557" y="357921"/>
                  </a:lnTo>
                  <a:lnTo>
                    <a:pt x="110557" y="356912"/>
                  </a:lnTo>
                  <a:cubicBezTo>
                    <a:pt x="133274" y="342272"/>
                    <a:pt x="139332" y="331165"/>
                    <a:pt x="139332" y="297847"/>
                  </a:cubicBezTo>
                  <a:lnTo>
                    <a:pt x="139332" y="17669"/>
                  </a:lnTo>
                  <a:lnTo>
                    <a:pt x="117624" y="17669"/>
                  </a:lnTo>
                  <a:cubicBezTo>
                    <a:pt x="63608" y="17669"/>
                    <a:pt x="43920" y="50988"/>
                    <a:pt x="1010" y="119644"/>
                  </a:cubicBezTo>
                  <a:lnTo>
                    <a:pt x="0" y="119644"/>
                  </a:lnTo>
                  <a:lnTo>
                    <a:pt x="171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grpSp>
          <p:nvGrpSpPr>
            <p:cNvPr id="33" name="Group 32"/>
            <p:cNvGrpSpPr/>
            <p:nvPr/>
          </p:nvGrpSpPr>
          <p:grpSpPr>
            <a:xfrm>
              <a:off x="10999013" y="849614"/>
              <a:ext cx="276809" cy="61257"/>
              <a:chOff x="10999013" y="849614"/>
              <a:chExt cx="276809" cy="61257"/>
            </a:xfrm>
            <a:solidFill>
              <a:schemeClr val="accent3"/>
            </a:solidFill>
          </p:grpSpPr>
          <p:sp>
            <p:nvSpPr>
              <p:cNvPr id="34" name="TextBox 33"/>
              <p:cNvSpPr txBox="1">
                <a:spLocks/>
              </p:cNvSpPr>
              <p:nvPr/>
            </p:nvSpPr>
            <p:spPr>
              <a:xfrm>
                <a:off x="10999013" y="849614"/>
                <a:ext cx="60220" cy="61257"/>
              </a:xfrm>
              <a:custGeom>
                <a:avLst/>
                <a:gdLst/>
                <a:ahLst/>
                <a:cxnLst/>
                <a:rect l="l" t="t" r="r" b="b"/>
                <a:pathLst>
                  <a:path w="130738" h="132991">
                    <a:moveTo>
                      <a:pt x="65709" y="0"/>
                    </a:moveTo>
                    <a:cubicBezTo>
                      <a:pt x="86122" y="0"/>
                      <a:pt x="102063" y="5891"/>
                      <a:pt x="113533" y="17673"/>
                    </a:cubicBezTo>
                    <a:cubicBezTo>
                      <a:pt x="125003" y="29455"/>
                      <a:pt x="130738" y="45715"/>
                      <a:pt x="130738" y="66451"/>
                    </a:cubicBezTo>
                    <a:cubicBezTo>
                      <a:pt x="130738" y="87129"/>
                      <a:pt x="124987" y="103389"/>
                      <a:pt x="113485" y="115230"/>
                    </a:cubicBezTo>
                    <a:cubicBezTo>
                      <a:pt x="101982" y="127071"/>
                      <a:pt x="85992" y="132991"/>
                      <a:pt x="65515" y="132991"/>
                    </a:cubicBezTo>
                    <a:cubicBezTo>
                      <a:pt x="44584" y="132991"/>
                      <a:pt x="28432" y="127174"/>
                      <a:pt x="17059" y="115539"/>
                    </a:cubicBezTo>
                    <a:cubicBezTo>
                      <a:pt x="5686" y="103904"/>
                      <a:pt x="0" y="87483"/>
                      <a:pt x="0" y="66275"/>
                    </a:cubicBezTo>
                    <a:cubicBezTo>
                      <a:pt x="0" y="45243"/>
                      <a:pt x="5702" y="28940"/>
                      <a:pt x="17107" y="17364"/>
                    </a:cubicBezTo>
                    <a:cubicBezTo>
                      <a:pt x="28513" y="5788"/>
                      <a:pt x="44713" y="0"/>
                      <a:pt x="65709" y="0"/>
                    </a:cubicBezTo>
                    <a:close/>
                    <a:moveTo>
                      <a:pt x="65709" y="13431"/>
                    </a:moveTo>
                    <a:cubicBezTo>
                      <a:pt x="49962" y="13431"/>
                      <a:pt x="37990" y="17953"/>
                      <a:pt x="29793" y="26996"/>
                    </a:cubicBezTo>
                    <a:cubicBezTo>
                      <a:pt x="21595" y="36038"/>
                      <a:pt x="17496" y="49190"/>
                      <a:pt x="17496" y="66451"/>
                    </a:cubicBezTo>
                    <a:cubicBezTo>
                      <a:pt x="17496" y="83948"/>
                      <a:pt x="21595" y="97218"/>
                      <a:pt x="29793" y="106261"/>
                    </a:cubicBezTo>
                    <a:cubicBezTo>
                      <a:pt x="37990" y="115303"/>
                      <a:pt x="49897" y="119825"/>
                      <a:pt x="65515" y="119825"/>
                    </a:cubicBezTo>
                    <a:cubicBezTo>
                      <a:pt x="81262" y="119825"/>
                      <a:pt x="93153" y="115318"/>
                      <a:pt x="101188" y="106305"/>
                    </a:cubicBezTo>
                    <a:cubicBezTo>
                      <a:pt x="109224" y="97291"/>
                      <a:pt x="113242" y="84007"/>
                      <a:pt x="113242" y="66451"/>
                    </a:cubicBezTo>
                    <a:cubicBezTo>
                      <a:pt x="113242" y="49073"/>
                      <a:pt x="109240" y="35891"/>
                      <a:pt x="101237" y="26907"/>
                    </a:cubicBezTo>
                    <a:cubicBezTo>
                      <a:pt x="93234" y="17923"/>
                      <a:pt x="81391" y="13431"/>
                      <a:pt x="65709" y="13431"/>
                    </a:cubicBez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35" name="TextBox 34"/>
              <p:cNvSpPr txBox="1">
                <a:spLocks/>
              </p:cNvSpPr>
              <p:nvPr/>
            </p:nvSpPr>
            <p:spPr>
              <a:xfrm>
                <a:off x="11068225" y="850549"/>
                <a:ext cx="36490" cy="59507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60620"/>
                    </a:lnTo>
                    <a:lnTo>
                      <a:pt x="75430" y="60620"/>
                    </a:lnTo>
                    <a:lnTo>
                      <a:pt x="75430" y="73963"/>
                    </a:lnTo>
                    <a:lnTo>
                      <a:pt x="16525" y="73963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36" name="TextBox 35"/>
              <p:cNvSpPr txBox="1">
                <a:spLocks/>
              </p:cNvSpPr>
              <p:nvPr/>
            </p:nvSpPr>
            <p:spPr>
              <a:xfrm>
                <a:off x="11121455" y="850549"/>
                <a:ext cx="49071" cy="59507"/>
              </a:xfrm>
              <a:custGeom>
                <a:avLst/>
                <a:gdLst/>
                <a:ahLst/>
                <a:cxnLst/>
                <a:rect l="l" t="t" r="r" b="b"/>
                <a:pathLst>
                  <a:path w="106535" h="129192">
                    <a:moveTo>
                      <a:pt x="0" y="0"/>
                    </a:moveTo>
                    <a:lnTo>
                      <a:pt x="106535" y="0"/>
                    </a:lnTo>
                    <a:lnTo>
                      <a:pt x="106535" y="13343"/>
                    </a:lnTo>
                    <a:lnTo>
                      <a:pt x="61530" y="13343"/>
                    </a:lnTo>
                    <a:lnTo>
                      <a:pt x="61530" y="129192"/>
                    </a:lnTo>
                    <a:lnTo>
                      <a:pt x="45005" y="129192"/>
                    </a:lnTo>
                    <a:lnTo>
                      <a:pt x="45005" y="13343"/>
                    </a:lnTo>
                    <a:lnTo>
                      <a:pt x="0" y="13343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37" name="TextBox 36"/>
              <p:cNvSpPr txBox="1">
                <a:spLocks/>
              </p:cNvSpPr>
              <p:nvPr/>
            </p:nvSpPr>
            <p:spPr>
              <a:xfrm>
                <a:off x="11177909" y="850549"/>
                <a:ext cx="49698" cy="59507"/>
              </a:xfrm>
              <a:custGeom>
                <a:avLst/>
                <a:gdLst/>
                <a:ahLst/>
                <a:cxnLst/>
                <a:rect l="l" t="t" r="r" b="b"/>
                <a:pathLst>
                  <a:path w="107896" h="129192">
                    <a:moveTo>
                      <a:pt x="0" y="0"/>
                    </a:moveTo>
                    <a:lnTo>
                      <a:pt x="16525" y="0"/>
                    </a:lnTo>
                    <a:lnTo>
                      <a:pt x="16525" y="54964"/>
                    </a:lnTo>
                    <a:lnTo>
                      <a:pt x="91371" y="54964"/>
                    </a:lnTo>
                    <a:lnTo>
                      <a:pt x="91371" y="0"/>
                    </a:lnTo>
                    <a:lnTo>
                      <a:pt x="107896" y="0"/>
                    </a:lnTo>
                    <a:lnTo>
                      <a:pt x="107896" y="129192"/>
                    </a:lnTo>
                    <a:lnTo>
                      <a:pt x="91371" y="129192"/>
                    </a:lnTo>
                    <a:lnTo>
                      <a:pt x="91371" y="68396"/>
                    </a:lnTo>
                    <a:lnTo>
                      <a:pt x="16525" y="68396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38" name="TextBox 37"/>
              <p:cNvSpPr txBox="1">
                <a:spLocks/>
              </p:cNvSpPr>
              <p:nvPr/>
            </p:nvSpPr>
            <p:spPr>
              <a:xfrm>
                <a:off x="11239332" y="850549"/>
                <a:ext cx="36490" cy="59507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54964"/>
                    </a:lnTo>
                    <a:lnTo>
                      <a:pt x="75430" y="54964"/>
                    </a:lnTo>
                    <a:lnTo>
                      <a:pt x="75430" y="68219"/>
                    </a:lnTo>
                    <a:lnTo>
                      <a:pt x="16525" y="68219"/>
                    </a:lnTo>
                    <a:lnTo>
                      <a:pt x="16525" y="115760"/>
                    </a:lnTo>
                    <a:lnTo>
                      <a:pt x="79221" y="115760"/>
                    </a:lnTo>
                    <a:lnTo>
                      <a:pt x="79221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</p:grpSp>
        <p:sp>
          <p:nvSpPr>
            <p:cNvPr id="39" name="Freeform 9"/>
            <p:cNvSpPr>
              <a:spLocks noEditPoints="1"/>
            </p:cNvSpPr>
            <p:nvPr/>
          </p:nvSpPr>
          <p:spPr bwMode="auto">
            <a:xfrm>
              <a:off x="10577133" y="371026"/>
              <a:ext cx="1417320" cy="783522"/>
            </a:xfrm>
            <a:custGeom>
              <a:avLst/>
              <a:gdLst>
                <a:gd name="T0" fmla="*/ 279 w 326"/>
                <a:gd name="T1" fmla="*/ 180 h 180"/>
                <a:gd name="T2" fmla="*/ 271 w 326"/>
                <a:gd name="T3" fmla="*/ 179 h 180"/>
                <a:gd name="T4" fmla="*/ 45 w 326"/>
                <a:gd name="T5" fmla="*/ 179 h 180"/>
                <a:gd name="T6" fmla="*/ 6 w 326"/>
                <a:gd name="T7" fmla="*/ 153 h 180"/>
                <a:gd name="T8" fmla="*/ 0 w 326"/>
                <a:gd name="T9" fmla="*/ 129 h 180"/>
                <a:gd name="T10" fmla="*/ 32 w 326"/>
                <a:gd name="T11" fmla="*/ 82 h 180"/>
                <a:gd name="T12" fmla="*/ 30 w 326"/>
                <a:gd name="T13" fmla="*/ 70 h 180"/>
                <a:gd name="T14" fmla="*/ 100 w 326"/>
                <a:gd name="T15" fmla="*/ 0 h 180"/>
                <a:gd name="T16" fmla="*/ 154 w 326"/>
                <a:gd name="T17" fmla="*/ 26 h 180"/>
                <a:gd name="T18" fmla="*/ 187 w 326"/>
                <a:gd name="T19" fmla="*/ 16 h 180"/>
                <a:gd name="T20" fmla="*/ 242 w 326"/>
                <a:gd name="T21" fmla="*/ 55 h 180"/>
                <a:gd name="T22" fmla="*/ 245 w 326"/>
                <a:gd name="T23" fmla="*/ 54 h 180"/>
                <a:gd name="T24" fmla="*/ 280 w 326"/>
                <a:gd name="T25" fmla="*/ 85 h 180"/>
                <a:gd name="T26" fmla="*/ 326 w 326"/>
                <a:gd name="T27" fmla="*/ 132 h 180"/>
                <a:gd name="T28" fmla="*/ 279 w 326"/>
                <a:gd name="T29" fmla="*/ 180 h 180"/>
                <a:gd name="T30" fmla="*/ 100 w 326"/>
                <a:gd name="T31" fmla="*/ 4 h 180"/>
                <a:gd name="T32" fmla="*/ 34 w 326"/>
                <a:gd name="T33" fmla="*/ 70 h 180"/>
                <a:gd name="T34" fmla="*/ 36 w 326"/>
                <a:gd name="T35" fmla="*/ 83 h 180"/>
                <a:gd name="T36" fmla="*/ 36 w 326"/>
                <a:gd name="T37" fmla="*/ 85 h 180"/>
                <a:gd name="T38" fmla="*/ 35 w 326"/>
                <a:gd name="T39" fmla="*/ 86 h 180"/>
                <a:gd name="T40" fmla="*/ 4 w 326"/>
                <a:gd name="T41" fmla="*/ 129 h 180"/>
                <a:gd name="T42" fmla="*/ 10 w 326"/>
                <a:gd name="T43" fmla="*/ 151 h 180"/>
                <a:gd name="T44" fmla="*/ 10 w 326"/>
                <a:gd name="T45" fmla="*/ 151 h 180"/>
                <a:gd name="T46" fmla="*/ 45 w 326"/>
                <a:gd name="T47" fmla="*/ 175 h 180"/>
                <a:gd name="T48" fmla="*/ 271 w 326"/>
                <a:gd name="T49" fmla="*/ 175 h 180"/>
                <a:gd name="T50" fmla="*/ 272 w 326"/>
                <a:gd name="T51" fmla="*/ 175 h 180"/>
                <a:gd name="T52" fmla="*/ 279 w 326"/>
                <a:gd name="T53" fmla="*/ 176 h 180"/>
                <a:gd name="T54" fmla="*/ 322 w 326"/>
                <a:gd name="T55" fmla="*/ 132 h 180"/>
                <a:gd name="T56" fmla="*/ 279 w 326"/>
                <a:gd name="T57" fmla="*/ 89 h 180"/>
                <a:gd name="T58" fmla="*/ 278 w 326"/>
                <a:gd name="T59" fmla="*/ 89 h 180"/>
                <a:gd name="T60" fmla="*/ 276 w 326"/>
                <a:gd name="T61" fmla="*/ 89 h 180"/>
                <a:gd name="T62" fmla="*/ 276 w 326"/>
                <a:gd name="T63" fmla="*/ 87 h 180"/>
                <a:gd name="T64" fmla="*/ 245 w 326"/>
                <a:gd name="T65" fmla="*/ 58 h 180"/>
                <a:gd name="T66" fmla="*/ 240 w 326"/>
                <a:gd name="T67" fmla="*/ 59 h 180"/>
                <a:gd name="T68" fmla="*/ 239 w 326"/>
                <a:gd name="T69" fmla="*/ 59 h 180"/>
                <a:gd name="T70" fmla="*/ 238 w 326"/>
                <a:gd name="T71" fmla="*/ 57 h 180"/>
                <a:gd name="T72" fmla="*/ 187 w 326"/>
                <a:gd name="T73" fmla="*/ 20 h 180"/>
                <a:gd name="T74" fmla="*/ 155 w 326"/>
                <a:gd name="T75" fmla="*/ 30 h 180"/>
                <a:gd name="T76" fmla="*/ 153 w 326"/>
                <a:gd name="T77" fmla="*/ 31 h 180"/>
                <a:gd name="T78" fmla="*/ 152 w 326"/>
                <a:gd name="T79" fmla="*/ 30 h 180"/>
                <a:gd name="T80" fmla="*/ 100 w 326"/>
                <a:gd name="T81" fmla="*/ 4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26" h="180">
                  <a:moveTo>
                    <a:pt x="279" y="180"/>
                  </a:moveTo>
                  <a:cubicBezTo>
                    <a:pt x="276" y="180"/>
                    <a:pt x="274" y="179"/>
                    <a:pt x="271" y="179"/>
                  </a:cubicBezTo>
                  <a:cubicBezTo>
                    <a:pt x="45" y="179"/>
                    <a:pt x="45" y="179"/>
                    <a:pt x="45" y="179"/>
                  </a:cubicBezTo>
                  <a:cubicBezTo>
                    <a:pt x="28" y="179"/>
                    <a:pt x="13" y="169"/>
                    <a:pt x="6" y="153"/>
                  </a:cubicBezTo>
                  <a:cubicBezTo>
                    <a:pt x="2" y="146"/>
                    <a:pt x="0" y="137"/>
                    <a:pt x="0" y="129"/>
                  </a:cubicBezTo>
                  <a:cubicBezTo>
                    <a:pt x="0" y="109"/>
                    <a:pt x="13" y="90"/>
                    <a:pt x="32" y="82"/>
                  </a:cubicBezTo>
                  <a:cubicBezTo>
                    <a:pt x="31" y="78"/>
                    <a:pt x="30" y="74"/>
                    <a:pt x="30" y="70"/>
                  </a:cubicBezTo>
                  <a:cubicBezTo>
                    <a:pt x="30" y="32"/>
                    <a:pt x="62" y="0"/>
                    <a:pt x="100" y="0"/>
                  </a:cubicBezTo>
                  <a:cubicBezTo>
                    <a:pt x="121" y="0"/>
                    <a:pt x="141" y="10"/>
                    <a:pt x="154" y="26"/>
                  </a:cubicBezTo>
                  <a:cubicBezTo>
                    <a:pt x="164" y="19"/>
                    <a:pt x="175" y="16"/>
                    <a:pt x="187" y="16"/>
                  </a:cubicBezTo>
                  <a:cubicBezTo>
                    <a:pt x="212" y="16"/>
                    <a:pt x="233" y="31"/>
                    <a:pt x="242" y="55"/>
                  </a:cubicBezTo>
                  <a:cubicBezTo>
                    <a:pt x="243" y="54"/>
                    <a:pt x="244" y="54"/>
                    <a:pt x="245" y="54"/>
                  </a:cubicBezTo>
                  <a:cubicBezTo>
                    <a:pt x="263" y="54"/>
                    <a:pt x="278" y="68"/>
                    <a:pt x="280" y="85"/>
                  </a:cubicBezTo>
                  <a:cubicBezTo>
                    <a:pt x="305" y="86"/>
                    <a:pt x="326" y="107"/>
                    <a:pt x="326" y="132"/>
                  </a:cubicBezTo>
                  <a:cubicBezTo>
                    <a:pt x="326" y="158"/>
                    <a:pt x="305" y="180"/>
                    <a:pt x="279" y="180"/>
                  </a:cubicBezTo>
                  <a:close/>
                  <a:moveTo>
                    <a:pt x="100" y="4"/>
                  </a:moveTo>
                  <a:cubicBezTo>
                    <a:pt x="64" y="4"/>
                    <a:pt x="34" y="34"/>
                    <a:pt x="34" y="70"/>
                  </a:cubicBezTo>
                  <a:cubicBezTo>
                    <a:pt x="34" y="75"/>
                    <a:pt x="35" y="79"/>
                    <a:pt x="36" y="83"/>
                  </a:cubicBezTo>
                  <a:cubicBezTo>
                    <a:pt x="36" y="85"/>
                    <a:pt x="36" y="85"/>
                    <a:pt x="36" y="85"/>
                  </a:cubicBezTo>
                  <a:cubicBezTo>
                    <a:pt x="35" y="86"/>
                    <a:pt x="35" y="86"/>
                    <a:pt x="35" y="86"/>
                  </a:cubicBezTo>
                  <a:cubicBezTo>
                    <a:pt x="16" y="92"/>
                    <a:pt x="4" y="110"/>
                    <a:pt x="4" y="129"/>
                  </a:cubicBezTo>
                  <a:cubicBezTo>
                    <a:pt x="4" y="137"/>
                    <a:pt x="6" y="144"/>
                    <a:pt x="10" y="151"/>
                  </a:cubicBezTo>
                  <a:cubicBezTo>
                    <a:pt x="10" y="151"/>
                    <a:pt x="10" y="151"/>
                    <a:pt x="10" y="151"/>
                  </a:cubicBezTo>
                  <a:cubicBezTo>
                    <a:pt x="16" y="166"/>
                    <a:pt x="30" y="175"/>
                    <a:pt x="45" y="175"/>
                  </a:cubicBezTo>
                  <a:cubicBezTo>
                    <a:pt x="271" y="175"/>
                    <a:pt x="271" y="175"/>
                    <a:pt x="271" y="175"/>
                  </a:cubicBezTo>
                  <a:cubicBezTo>
                    <a:pt x="272" y="175"/>
                    <a:pt x="272" y="175"/>
                    <a:pt x="272" y="175"/>
                  </a:cubicBezTo>
                  <a:cubicBezTo>
                    <a:pt x="274" y="175"/>
                    <a:pt x="276" y="176"/>
                    <a:pt x="279" y="176"/>
                  </a:cubicBezTo>
                  <a:cubicBezTo>
                    <a:pt x="303" y="176"/>
                    <a:pt x="322" y="156"/>
                    <a:pt x="322" y="132"/>
                  </a:cubicBezTo>
                  <a:cubicBezTo>
                    <a:pt x="322" y="109"/>
                    <a:pt x="303" y="89"/>
                    <a:pt x="279" y="89"/>
                  </a:cubicBezTo>
                  <a:cubicBezTo>
                    <a:pt x="279" y="89"/>
                    <a:pt x="278" y="89"/>
                    <a:pt x="278" y="89"/>
                  </a:cubicBezTo>
                  <a:cubicBezTo>
                    <a:pt x="276" y="89"/>
                    <a:pt x="276" y="89"/>
                    <a:pt x="276" y="89"/>
                  </a:cubicBezTo>
                  <a:cubicBezTo>
                    <a:pt x="276" y="87"/>
                    <a:pt x="276" y="87"/>
                    <a:pt x="276" y="87"/>
                  </a:cubicBezTo>
                  <a:cubicBezTo>
                    <a:pt x="275" y="71"/>
                    <a:pt x="261" y="58"/>
                    <a:pt x="245" y="58"/>
                  </a:cubicBezTo>
                  <a:cubicBezTo>
                    <a:pt x="243" y="58"/>
                    <a:pt x="242" y="59"/>
                    <a:pt x="240" y="59"/>
                  </a:cubicBezTo>
                  <a:cubicBezTo>
                    <a:pt x="239" y="59"/>
                    <a:pt x="239" y="59"/>
                    <a:pt x="239" y="59"/>
                  </a:cubicBezTo>
                  <a:cubicBezTo>
                    <a:pt x="238" y="57"/>
                    <a:pt x="238" y="57"/>
                    <a:pt x="238" y="57"/>
                  </a:cubicBezTo>
                  <a:cubicBezTo>
                    <a:pt x="231" y="35"/>
                    <a:pt x="210" y="20"/>
                    <a:pt x="187" y="20"/>
                  </a:cubicBezTo>
                  <a:cubicBezTo>
                    <a:pt x="175" y="20"/>
                    <a:pt x="164" y="23"/>
                    <a:pt x="155" y="30"/>
                  </a:cubicBezTo>
                  <a:cubicBezTo>
                    <a:pt x="153" y="31"/>
                    <a:pt x="153" y="31"/>
                    <a:pt x="153" y="31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39" y="14"/>
                    <a:pt x="121" y="4"/>
                    <a:pt x="100" y="4"/>
                  </a:cubicBezTo>
                  <a:close/>
                </a:path>
              </a:pathLst>
            </a:custGeom>
            <a:solidFill>
              <a:srgbClr val="34697F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4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96379"/>
            <a:ext cx="9688623" cy="476805"/>
          </a:xfrm>
          <a:prstGeom prst="rect">
            <a:avLst/>
          </a:prstGeom>
        </p:spPr>
        <p:txBody>
          <a:bodyPr tIns="0" bIns="0" anchor="t" anchorCtr="0"/>
          <a:lstStyle>
            <a:lvl1pPr algn="l">
              <a:defRPr sz="3000" b="1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4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860151"/>
            <a:ext cx="9688622" cy="423094"/>
          </a:xfrm>
          <a:prstGeom prst="rect">
            <a:avLst/>
          </a:prstGeom>
        </p:spPr>
        <p:txBody>
          <a:bodyPr anchor="ctr"/>
          <a:lstStyle>
            <a:lvl1pPr algn="l">
              <a:lnSpc>
                <a:spcPct val="90000"/>
              </a:lnSpc>
              <a:spcBef>
                <a:spcPts val="0"/>
              </a:spcBef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41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4753301" y="2011681"/>
            <a:ext cx="6976736" cy="4174372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Body text</a:t>
            </a: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ternate Internal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7028383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42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Rectangle 23"/>
          <p:cNvSpPr/>
          <p:nvPr/>
        </p:nvSpPr>
        <p:spPr>
          <a:xfrm>
            <a:off x="0" y="1554481"/>
            <a:ext cx="2743915" cy="5319665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txBody>
          <a:bodyPr wrap="square" lIns="365760" tIns="91440" rIns="365760" bIns="182880" anchor="ctr">
            <a:noAutofit/>
          </a:bodyPr>
          <a:lstStyle/>
          <a:p>
            <a:endParaRPr lang="en-US" sz="7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0" y="1"/>
            <a:ext cx="12191996" cy="1554480"/>
          </a:xfrm>
          <a:prstGeom prst="rect">
            <a:avLst/>
          </a:prstGeom>
          <a:solidFill>
            <a:srgbClr val="064E69"/>
          </a:solidFill>
        </p:spPr>
        <p:txBody>
          <a:bodyPr wrap="square" lIns="548640" tIns="0" rIns="91440" bIns="0" anchor="ctr">
            <a:noAutofit/>
          </a:bodyPr>
          <a:lstStyle/>
          <a:p>
            <a:endParaRPr lang="en-US" sz="4000" b="1" dirty="0">
              <a:solidFill>
                <a:schemeClr val="bg1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-1" y="1448246"/>
            <a:ext cx="12192127" cy="106731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cxnSp>
        <p:nvCxnSpPr>
          <p:cNvPr id="7" name="Straight Connector 6"/>
          <p:cNvCxnSpPr/>
          <p:nvPr/>
        </p:nvCxnSpPr>
        <p:spPr>
          <a:xfrm>
            <a:off x="10363874" y="222724"/>
            <a:ext cx="0" cy="1032988"/>
          </a:xfrm>
          <a:prstGeom prst="line">
            <a:avLst/>
          </a:prstGeom>
          <a:ln w="15875" cmpd="sng">
            <a:solidFill>
              <a:schemeClr val="accent2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Group 1"/>
          <p:cNvGrpSpPr/>
          <p:nvPr/>
        </p:nvGrpSpPr>
        <p:grpSpPr>
          <a:xfrm>
            <a:off x="10579888" y="371026"/>
            <a:ext cx="1417689" cy="783522"/>
            <a:chOff x="10577133" y="371026"/>
            <a:chExt cx="1417320" cy="783522"/>
          </a:xfrm>
        </p:grpSpPr>
        <p:sp>
          <p:nvSpPr>
            <p:cNvPr id="26" name="TextBox 25"/>
            <p:cNvSpPr txBox="1">
              <a:spLocks/>
            </p:cNvSpPr>
            <p:nvPr/>
          </p:nvSpPr>
          <p:spPr>
            <a:xfrm>
              <a:off x="11006005" y="633221"/>
              <a:ext cx="224154" cy="176024"/>
            </a:xfrm>
            <a:custGeom>
              <a:avLst/>
              <a:gdLst/>
              <a:ahLst/>
              <a:cxnLst/>
              <a:rect l="l" t="t" r="r" b="b"/>
              <a:pathLst>
                <a:path w="486642" h="382152">
                  <a:moveTo>
                    <a:pt x="150943" y="0"/>
                  </a:moveTo>
                  <a:cubicBezTo>
                    <a:pt x="191582" y="0"/>
                    <a:pt x="224490" y="12368"/>
                    <a:pt x="232082" y="39810"/>
                  </a:cubicBezTo>
                  <a:lnTo>
                    <a:pt x="232262" y="41192"/>
                  </a:lnTo>
                  <a:lnTo>
                    <a:pt x="244394" y="27828"/>
                  </a:lnTo>
                  <a:cubicBezTo>
                    <a:pt x="265912" y="9086"/>
                    <a:pt x="296328" y="0"/>
                    <a:pt x="331918" y="0"/>
                  </a:cubicBezTo>
                  <a:cubicBezTo>
                    <a:pt x="355140" y="0"/>
                    <a:pt x="375838" y="4038"/>
                    <a:pt x="390730" y="12620"/>
                  </a:cubicBezTo>
                  <a:lnTo>
                    <a:pt x="399550" y="19037"/>
                  </a:lnTo>
                  <a:lnTo>
                    <a:pt x="415123" y="9213"/>
                  </a:lnTo>
                  <a:cubicBezTo>
                    <a:pt x="421204" y="6846"/>
                    <a:pt x="427956" y="5553"/>
                    <a:pt x="435150" y="5553"/>
                  </a:cubicBezTo>
                  <a:cubicBezTo>
                    <a:pt x="464430" y="5553"/>
                    <a:pt x="486642" y="26250"/>
                    <a:pt x="486642" y="53511"/>
                  </a:cubicBezTo>
                  <a:cubicBezTo>
                    <a:pt x="486642" y="80772"/>
                    <a:pt x="464430" y="101974"/>
                    <a:pt x="435150" y="101974"/>
                  </a:cubicBezTo>
                  <a:cubicBezTo>
                    <a:pt x="420763" y="101974"/>
                    <a:pt x="408142" y="96674"/>
                    <a:pt x="399118" y="87965"/>
                  </a:cubicBezTo>
                  <a:lnTo>
                    <a:pt x="397141" y="85099"/>
                  </a:lnTo>
                  <a:lnTo>
                    <a:pt x="387023" y="90979"/>
                  </a:lnTo>
                  <a:cubicBezTo>
                    <a:pt x="381675" y="92887"/>
                    <a:pt x="375838" y="93897"/>
                    <a:pt x="369780" y="93897"/>
                  </a:cubicBezTo>
                  <a:cubicBezTo>
                    <a:pt x="355140" y="93897"/>
                    <a:pt x="342015" y="89354"/>
                    <a:pt x="335452" y="81781"/>
                  </a:cubicBezTo>
                  <a:cubicBezTo>
                    <a:pt x="350092" y="78247"/>
                    <a:pt x="359179" y="66132"/>
                    <a:pt x="359179" y="42910"/>
                  </a:cubicBezTo>
                  <a:cubicBezTo>
                    <a:pt x="359179" y="22717"/>
                    <a:pt x="350597" y="8077"/>
                    <a:pt x="331918" y="8077"/>
                  </a:cubicBezTo>
                  <a:cubicBezTo>
                    <a:pt x="308696" y="8077"/>
                    <a:pt x="300619" y="29784"/>
                    <a:pt x="300619" y="58054"/>
                  </a:cubicBezTo>
                  <a:lnTo>
                    <a:pt x="300619" y="132264"/>
                  </a:lnTo>
                  <a:lnTo>
                    <a:pt x="363217" y="132264"/>
                  </a:lnTo>
                  <a:lnTo>
                    <a:pt x="360693" y="144884"/>
                  </a:lnTo>
                  <a:lnTo>
                    <a:pt x="300619" y="144884"/>
                  </a:lnTo>
                  <a:lnTo>
                    <a:pt x="300619" y="327126"/>
                  </a:lnTo>
                  <a:cubicBezTo>
                    <a:pt x="300619" y="360445"/>
                    <a:pt x="312230" y="369027"/>
                    <a:pt x="339490" y="381142"/>
                  </a:cubicBezTo>
                  <a:lnTo>
                    <a:pt x="339490" y="382152"/>
                  </a:lnTo>
                  <a:lnTo>
                    <a:pt x="186529" y="382152"/>
                  </a:lnTo>
                  <a:lnTo>
                    <a:pt x="186529" y="381142"/>
                  </a:lnTo>
                  <a:cubicBezTo>
                    <a:pt x="208741" y="367007"/>
                    <a:pt x="210255" y="360445"/>
                    <a:pt x="210255" y="327126"/>
                  </a:cubicBezTo>
                  <a:lnTo>
                    <a:pt x="210255" y="144884"/>
                  </a:lnTo>
                  <a:lnTo>
                    <a:pt x="180976" y="144884"/>
                  </a:lnTo>
                  <a:lnTo>
                    <a:pt x="180976" y="139331"/>
                  </a:lnTo>
                  <a:lnTo>
                    <a:pt x="210255" y="128225"/>
                  </a:lnTo>
                  <a:lnTo>
                    <a:pt x="210255" y="113585"/>
                  </a:lnTo>
                  <a:lnTo>
                    <a:pt x="212504" y="87227"/>
                  </a:lnTo>
                  <a:lnTo>
                    <a:pt x="206048" y="90979"/>
                  </a:lnTo>
                  <a:cubicBezTo>
                    <a:pt x="200700" y="92887"/>
                    <a:pt x="194863" y="93897"/>
                    <a:pt x="188805" y="93897"/>
                  </a:cubicBezTo>
                  <a:cubicBezTo>
                    <a:pt x="174165" y="93897"/>
                    <a:pt x="161040" y="89354"/>
                    <a:pt x="154477" y="81781"/>
                  </a:cubicBezTo>
                  <a:cubicBezTo>
                    <a:pt x="169117" y="78247"/>
                    <a:pt x="178204" y="66132"/>
                    <a:pt x="178204" y="42910"/>
                  </a:cubicBezTo>
                  <a:cubicBezTo>
                    <a:pt x="178204" y="22717"/>
                    <a:pt x="169622" y="8077"/>
                    <a:pt x="150943" y="8077"/>
                  </a:cubicBezTo>
                  <a:cubicBezTo>
                    <a:pt x="127721" y="8077"/>
                    <a:pt x="119644" y="29784"/>
                    <a:pt x="119644" y="58054"/>
                  </a:cubicBezTo>
                  <a:lnTo>
                    <a:pt x="119644" y="132264"/>
                  </a:lnTo>
                  <a:lnTo>
                    <a:pt x="182242" y="132264"/>
                  </a:lnTo>
                  <a:lnTo>
                    <a:pt x="179718" y="144884"/>
                  </a:lnTo>
                  <a:lnTo>
                    <a:pt x="119644" y="144884"/>
                  </a:lnTo>
                  <a:lnTo>
                    <a:pt x="119644" y="327126"/>
                  </a:lnTo>
                  <a:cubicBezTo>
                    <a:pt x="119644" y="360445"/>
                    <a:pt x="131255" y="369027"/>
                    <a:pt x="158516" y="381142"/>
                  </a:cubicBezTo>
                  <a:lnTo>
                    <a:pt x="158516" y="382152"/>
                  </a:lnTo>
                  <a:lnTo>
                    <a:pt x="5554" y="382152"/>
                  </a:lnTo>
                  <a:lnTo>
                    <a:pt x="5554" y="381142"/>
                  </a:lnTo>
                  <a:cubicBezTo>
                    <a:pt x="27766" y="367007"/>
                    <a:pt x="29280" y="360445"/>
                    <a:pt x="29280" y="327126"/>
                  </a:cubicBezTo>
                  <a:lnTo>
                    <a:pt x="29280" y="144884"/>
                  </a:lnTo>
                  <a:lnTo>
                    <a:pt x="0" y="144884"/>
                  </a:lnTo>
                  <a:lnTo>
                    <a:pt x="0" y="139331"/>
                  </a:lnTo>
                  <a:lnTo>
                    <a:pt x="29280" y="128225"/>
                  </a:lnTo>
                  <a:lnTo>
                    <a:pt x="29280" y="113585"/>
                  </a:lnTo>
                  <a:cubicBezTo>
                    <a:pt x="29280" y="36347"/>
                    <a:pt x="79763" y="0"/>
                    <a:pt x="150943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7" name="TextBox 26"/>
            <p:cNvSpPr txBox="1">
              <a:spLocks/>
            </p:cNvSpPr>
            <p:nvPr/>
          </p:nvSpPr>
          <p:spPr>
            <a:xfrm>
              <a:off x="10825458" y="644149"/>
              <a:ext cx="167188" cy="167421"/>
            </a:xfrm>
            <a:custGeom>
              <a:avLst/>
              <a:gdLst/>
              <a:ahLst/>
              <a:cxnLst/>
              <a:rect l="l" t="t" r="r" b="b"/>
              <a:pathLst>
                <a:path w="362969" h="363474">
                  <a:moveTo>
                    <a:pt x="181737" y="0"/>
                  </a:moveTo>
                  <a:cubicBezTo>
                    <a:pt x="285731" y="0"/>
                    <a:pt x="362969" y="75724"/>
                    <a:pt x="362969" y="181737"/>
                  </a:cubicBezTo>
                  <a:cubicBezTo>
                    <a:pt x="362969" y="287751"/>
                    <a:pt x="285731" y="363474"/>
                    <a:pt x="181737" y="363474"/>
                  </a:cubicBezTo>
                  <a:cubicBezTo>
                    <a:pt x="77238" y="363474"/>
                    <a:pt x="0" y="287751"/>
                    <a:pt x="0" y="181737"/>
                  </a:cubicBezTo>
                  <a:cubicBezTo>
                    <a:pt x="0" y="75724"/>
                    <a:pt x="77238" y="0"/>
                    <a:pt x="181737" y="0"/>
                  </a:cubicBezTo>
                  <a:close/>
                  <a:moveTo>
                    <a:pt x="181737" y="10097"/>
                  </a:moveTo>
                  <a:cubicBezTo>
                    <a:pt x="123682" y="10097"/>
                    <a:pt x="103994" y="70676"/>
                    <a:pt x="103994" y="181737"/>
                  </a:cubicBezTo>
                  <a:cubicBezTo>
                    <a:pt x="103994" y="292799"/>
                    <a:pt x="123682" y="353378"/>
                    <a:pt x="181737" y="353378"/>
                  </a:cubicBezTo>
                  <a:cubicBezTo>
                    <a:pt x="239287" y="353378"/>
                    <a:pt x="258975" y="292799"/>
                    <a:pt x="258975" y="181737"/>
                  </a:cubicBezTo>
                  <a:cubicBezTo>
                    <a:pt x="258975" y="70676"/>
                    <a:pt x="239287" y="10097"/>
                    <a:pt x="181737" y="1009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8" name="TextBox 27"/>
            <p:cNvSpPr txBox="1">
              <a:spLocks/>
            </p:cNvSpPr>
            <p:nvPr/>
          </p:nvSpPr>
          <p:spPr>
            <a:xfrm>
              <a:off x="11249402" y="691818"/>
              <a:ext cx="113009" cy="119752"/>
            </a:xfrm>
            <a:custGeom>
              <a:avLst/>
              <a:gdLst/>
              <a:ahLst/>
              <a:cxnLst/>
              <a:rect l="l" t="t" r="r" b="b"/>
              <a:pathLst>
                <a:path w="245345" h="259984">
                  <a:moveTo>
                    <a:pt x="144885" y="0"/>
                  </a:moveTo>
                  <a:cubicBezTo>
                    <a:pt x="199406" y="0"/>
                    <a:pt x="240297" y="23726"/>
                    <a:pt x="240297" y="65122"/>
                  </a:cubicBezTo>
                  <a:cubicBezTo>
                    <a:pt x="240297" y="95411"/>
                    <a:pt x="217075" y="111061"/>
                    <a:pt x="192843" y="111061"/>
                  </a:cubicBezTo>
                  <a:cubicBezTo>
                    <a:pt x="166087" y="111061"/>
                    <a:pt x="150438" y="96421"/>
                    <a:pt x="148923" y="81781"/>
                  </a:cubicBezTo>
                  <a:cubicBezTo>
                    <a:pt x="151952" y="82791"/>
                    <a:pt x="155486" y="83296"/>
                    <a:pt x="158010" y="83296"/>
                  </a:cubicBezTo>
                  <a:cubicBezTo>
                    <a:pt x="176689" y="83296"/>
                    <a:pt x="184261" y="67646"/>
                    <a:pt x="184261" y="48463"/>
                  </a:cubicBezTo>
                  <a:cubicBezTo>
                    <a:pt x="184261" y="24231"/>
                    <a:pt x="171136" y="8582"/>
                    <a:pt x="145894" y="8582"/>
                  </a:cubicBezTo>
                  <a:cubicBezTo>
                    <a:pt x="110557" y="8582"/>
                    <a:pt x="93897" y="54016"/>
                    <a:pt x="93897" y="112575"/>
                  </a:cubicBezTo>
                  <a:cubicBezTo>
                    <a:pt x="93897" y="181737"/>
                    <a:pt x="124692" y="218589"/>
                    <a:pt x="171640" y="218589"/>
                  </a:cubicBezTo>
                  <a:cubicBezTo>
                    <a:pt x="200415" y="218589"/>
                    <a:pt x="226666" y="204958"/>
                    <a:pt x="242316" y="173659"/>
                  </a:cubicBezTo>
                  <a:lnTo>
                    <a:pt x="245345" y="175174"/>
                  </a:lnTo>
                  <a:cubicBezTo>
                    <a:pt x="231210" y="229190"/>
                    <a:pt x="185775" y="259984"/>
                    <a:pt x="129740" y="259984"/>
                  </a:cubicBezTo>
                  <a:cubicBezTo>
                    <a:pt x="60074" y="259984"/>
                    <a:pt x="0" y="213036"/>
                    <a:pt x="0" y="134788"/>
                  </a:cubicBezTo>
                  <a:cubicBezTo>
                    <a:pt x="0" y="49977"/>
                    <a:pt x="63608" y="0"/>
                    <a:pt x="144885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9" name="TextBox 28"/>
            <p:cNvSpPr txBox="1">
              <a:spLocks/>
            </p:cNvSpPr>
            <p:nvPr/>
          </p:nvSpPr>
          <p:spPr>
            <a:xfrm>
              <a:off x="11372247" y="691818"/>
              <a:ext cx="116032" cy="119752"/>
            </a:xfrm>
            <a:custGeom>
              <a:avLst/>
              <a:gdLst/>
              <a:ahLst/>
              <a:cxnLst/>
              <a:rect l="l" t="t" r="r" b="b"/>
              <a:pathLst>
                <a:path w="251908" h="259984">
                  <a:moveTo>
                    <a:pt x="132264" y="0"/>
                  </a:moveTo>
                  <a:cubicBezTo>
                    <a:pt x="213541" y="0"/>
                    <a:pt x="251908" y="51996"/>
                    <a:pt x="251908" y="118633"/>
                  </a:cubicBezTo>
                  <a:lnTo>
                    <a:pt x="91373" y="118633"/>
                  </a:lnTo>
                  <a:cubicBezTo>
                    <a:pt x="91373" y="181232"/>
                    <a:pt x="124187" y="218589"/>
                    <a:pt x="172650" y="218589"/>
                  </a:cubicBezTo>
                  <a:cubicBezTo>
                    <a:pt x="203444" y="218589"/>
                    <a:pt x="230200" y="204958"/>
                    <a:pt x="245850" y="173659"/>
                  </a:cubicBezTo>
                  <a:lnTo>
                    <a:pt x="249383" y="175174"/>
                  </a:lnTo>
                  <a:cubicBezTo>
                    <a:pt x="234744" y="229190"/>
                    <a:pt x="189309" y="259984"/>
                    <a:pt x="131759" y="259984"/>
                  </a:cubicBezTo>
                  <a:cubicBezTo>
                    <a:pt x="59569" y="259984"/>
                    <a:pt x="0" y="212531"/>
                    <a:pt x="0" y="130244"/>
                  </a:cubicBezTo>
                  <a:cubicBezTo>
                    <a:pt x="0" y="50987"/>
                    <a:pt x="60074" y="0"/>
                    <a:pt x="132264" y="0"/>
                  </a:cubicBezTo>
                  <a:close/>
                  <a:moveTo>
                    <a:pt x="132264" y="8582"/>
                  </a:moveTo>
                  <a:cubicBezTo>
                    <a:pt x="106013" y="8582"/>
                    <a:pt x="92888" y="48463"/>
                    <a:pt x="91878" y="108032"/>
                  </a:cubicBezTo>
                  <a:lnTo>
                    <a:pt x="165078" y="108032"/>
                  </a:lnTo>
                  <a:cubicBezTo>
                    <a:pt x="165078" y="51492"/>
                    <a:pt x="161039" y="8582"/>
                    <a:pt x="132264" y="858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0" name="TextBox 29"/>
            <p:cNvSpPr txBox="1">
              <a:spLocks/>
            </p:cNvSpPr>
            <p:nvPr/>
          </p:nvSpPr>
          <p:spPr>
            <a:xfrm>
              <a:off x="11173887" y="694143"/>
              <a:ext cx="64875" cy="115102"/>
            </a:xfrm>
            <a:custGeom>
              <a:avLst/>
              <a:gdLst/>
              <a:ahLst/>
              <a:cxnLst/>
              <a:rect l="l" t="t" r="r" b="b"/>
              <a:pathLst>
                <a:path w="140846" h="249888">
                  <a:moveTo>
                    <a:pt x="0" y="0"/>
                  </a:moveTo>
                  <a:lnTo>
                    <a:pt x="117119" y="0"/>
                  </a:lnTo>
                  <a:lnTo>
                    <a:pt x="117119" y="194862"/>
                  </a:lnTo>
                  <a:cubicBezTo>
                    <a:pt x="117119" y="228181"/>
                    <a:pt x="118633" y="234743"/>
                    <a:pt x="140846" y="248878"/>
                  </a:cubicBezTo>
                  <a:lnTo>
                    <a:pt x="140846" y="249888"/>
                  </a:lnTo>
                  <a:lnTo>
                    <a:pt x="3029" y="249888"/>
                  </a:lnTo>
                  <a:lnTo>
                    <a:pt x="3029" y="248878"/>
                  </a:lnTo>
                  <a:cubicBezTo>
                    <a:pt x="25241" y="234743"/>
                    <a:pt x="26755" y="228181"/>
                    <a:pt x="26755" y="194862"/>
                  </a:cubicBezTo>
                  <a:lnTo>
                    <a:pt x="26755" y="56035"/>
                  </a:lnTo>
                  <a:cubicBezTo>
                    <a:pt x="26755" y="21707"/>
                    <a:pt x="23726" y="14640"/>
                    <a:pt x="0" y="1009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1" name="TextBox 30"/>
            <p:cNvSpPr txBox="1">
              <a:spLocks/>
            </p:cNvSpPr>
            <p:nvPr/>
          </p:nvSpPr>
          <p:spPr>
            <a:xfrm>
              <a:off x="11295676" y="842826"/>
              <a:ext cx="149051" cy="167421"/>
            </a:xfrm>
            <a:custGeom>
              <a:avLst/>
              <a:gdLst/>
              <a:ahLst/>
              <a:cxnLst/>
              <a:rect l="l" t="t" r="r" b="b"/>
              <a:pathLst>
                <a:path w="323593" h="363474">
                  <a:moveTo>
                    <a:pt x="190319" y="0"/>
                  </a:moveTo>
                  <a:cubicBezTo>
                    <a:pt x="236258" y="0"/>
                    <a:pt x="260994" y="15145"/>
                    <a:pt x="277653" y="15145"/>
                  </a:cubicBezTo>
                  <a:cubicBezTo>
                    <a:pt x="291284" y="15145"/>
                    <a:pt x="299866" y="9087"/>
                    <a:pt x="310467" y="0"/>
                  </a:cubicBezTo>
                  <a:lnTo>
                    <a:pt x="314001" y="120149"/>
                  </a:lnTo>
                  <a:lnTo>
                    <a:pt x="312991" y="120149"/>
                  </a:lnTo>
                  <a:cubicBezTo>
                    <a:pt x="287750" y="56541"/>
                    <a:pt x="250393" y="11107"/>
                    <a:pt x="199910" y="11107"/>
                  </a:cubicBezTo>
                  <a:cubicBezTo>
                    <a:pt x="137312" y="11107"/>
                    <a:pt x="101974" y="80268"/>
                    <a:pt x="101974" y="164573"/>
                  </a:cubicBezTo>
                  <a:cubicBezTo>
                    <a:pt x="101974" y="260490"/>
                    <a:pt x="155486" y="315011"/>
                    <a:pt x="221113" y="315011"/>
                  </a:cubicBezTo>
                  <a:cubicBezTo>
                    <a:pt x="263014" y="315011"/>
                    <a:pt x="297846" y="300371"/>
                    <a:pt x="320564" y="252918"/>
                  </a:cubicBezTo>
                  <a:lnTo>
                    <a:pt x="323593" y="253927"/>
                  </a:lnTo>
                  <a:cubicBezTo>
                    <a:pt x="306428" y="321574"/>
                    <a:pt x="252412" y="363474"/>
                    <a:pt x="173660" y="363474"/>
                  </a:cubicBezTo>
                  <a:cubicBezTo>
                    <a:pt x="74209" y="363474"/>
                    <a:pt x="0" y="293304"/>
                    <a:pt x="0" y="186786"/>
                  </a:cubicBezTo>
                  <a:cubicBezTo>
                    <a:pt x="0" y="76229"/>
                    <a:pt x="85820" y="0"/>
                    <a:pt x="190319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2" name="TextBox 31"/>
            <p:cNvSpPr txBox="1">
              <a:spLocks/>
            </p:cNvSpPr>
            <p:nvPr/>
          </p:nvSpPr>
          <p:spPr>
            <a:xfrm>
              <a:off x="11637888" y="842826"/>
              <a:ext cx="167188" cy="167421"/>
            </a:xfrm>
            <a:custGeom>
              <a:avLst/>
              <a:gdLst/>
              <a:ahLst/>
              <a:cxnLst/>
              <a:rect l="l" t="t" r="r" b="b"/>
              <a:pathLst>
                <a:path w="362969" h="363474">
                  <a:moveTo>
                    <a:pt x="181737" y="0"/>
                  </a:moveTo>
                  <a:cubicBezTo>
                    <a:pt x="285731" y="0"/>
                    <a:pt x="362969" y="75724"/>
                    <a:pt x="362969" y="181737"/>
                  </a:cubicBezTo>
                  <a:cubicBezTo>
                    <a:pt x="362969" y="287751"/>
                    <a:pt x="285731" y="363474"/>
                    <a:pt x="181737" y="363474"/>
                  </a:cubicBezTo>
                  <a:cubicBezTo>
                    <a:pt x="77238" y="363474"/>
                    <a:pt x="0" y="287751"/>
                    <a:pt x="0" y="181737"/>
                  </a:cubicBezTo>
                  <a:cubicBezTo>
                    <a:pt x="0" y="75724"/>
                    <a:pt x="77238" y="0"/>
                    <a:pt x="181737" y="0"/>
                  </a:cubicBezTo>
                  <a:close/>
                  <a:moveTo>
                    <a:pt x="181737" y="10097"/>
                  </a:moveTo>
                  <a:cubicBezTo>
                    <a:pt x="123682" y="10097"/>
                    <a:pt x="103994" y="70676"/>
                    <a:pt x="103994" y="181737"/>
                  </a:cubicBezTo>
                  <a:cubicBezTo>
                    <a:pt x="103994" y="292799"/>
                    <a:pt x="123682" y="353378"/>
                    <a:pt x="181737" y="353378"/>
                  </a:cubicBezTo>
                  <a:cubicBezTo>
                    <a:pt x="239287" y="353378"/>
                    <a:pt x="258975" y="292799"/>
                    <a:pt x="258975" y="181737"/>
                  </a:cubicBezTo>
                  <a:cubicBezTo>
                    <a:pt x="258975" y="70676"/>
                    <a:pt x="239287" y="10097"/>
                    <a:pt x="181737" y="1009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3" name="TextBox 32"/>
            <p:cNvSpPr txBox="1">
              <a:spLocks/>
            </p:cNvSpPr>
            <p:nvPr/>
          </p:nvSpPr>
          <p:spPr>
            <a:xfrm>
              <a:off x="11454751" y="843059"/>
              <a:ext cx="172072" cy="164863"/>
            </a:xfrm>
            <a:custGeom>
              <a:avLst/>
              <a:gdLst/>
              <a:ahLst/>
              <a:cxnLst/>
              <a:rect l="l" t="t" r="r" b="b"/>
              <a:pathLst>
                <a:path w="373571" h="357921">
                  <a:moveTo>
                    <a:pt x="17164" y="0"/>
                  </a:moveTo>
                  <a:cubicBezTo>
                    <a:pt x="24232" y="3534"/>
                    <a:pt x="35338" y="4544"/>
                    <a:pt x="52502" y="4544"/>
                  </a:cubicBezTo>
                  <a:lnTo>
                    <a:pt x="321069" y="4544"/>
                  </a:lnTo>
                  <a:cubicBezTo>
                    <a:pt x="338233" y="4544"/>
                    <a:pt x="349339" y="3534"/>
                    <a:pt x="356407" y="0"/>
                  </a:cubicBezTo>
                  <a:lnTo>
                    <a:pt x="373571" y="119644"/>
                  </a:lnTo>
                  <a:lnTo>
                    <a:pt x="372561" y="119644"/>
                  </a:lnTo>
                  <a:cubicBezTo>
                    <a:pt x="329651" y="50988"/>
                    <a:pt x="309963" y="17669"/>
                    <a:pt x="255946" y="17669"/>
                  </a:cubicBezTo>
                  <a:lnTo>
                    <a:pt x="234239" y="17669"/>
                  </a:lnTo>
                  <a:lnTo>
                    <a:pt x="234239" y="297847"/>
                  </a:lnTo>
                  <a:cubicBezTo>
                    <a:pt x="234239" y="331165"/>
                    <a:pt x="240802" y="342272"/>
                    <a:pt x="263014" y="356912"/>
                  </a:cubicBezTo>
                  <a:lnTo>
                    <a:pt x="263014" y="357921"/>
                  </a:lnTo>
                  <a:lnTo>
                    <a:pt x="110557" y="357921"/>
                  </a:lnTo>
                  <a:lnTo>
                    <a:pt x="110557" y="356912"/>
                  </a:lnTo>
                  <a:cubicBezTo>
                    <a:pt x="133274" y="342272"/>
                    <a:pt x="139332" y="331165"/>
                    <a:pt x="139332" y="297847"/>
                  </a:cubicBezTo>
                  <a:lnTo>
                    <a:pt x="139332" y="17669"/>
                  </a:lnTo>
                  <a:lnTo>
                    <a:pt x="117624" y="17669"/>
                  </a:lnTo>
                  <a:cubicBezTo>
                    <a:pt x="63608" y="17669"/>
                    <a:pt x="43920" y="50988"/>
                    <a:pt x="1010" y="119644"/>
                  </a:cubicBezTo>
                  <a:lnTo>
                    <a:pt x="0" y="119644"/>
                  </a:lnTo>
                  <a:lnTo>
                    <a:pt x="171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grpSp>
          <p:nvGrpSpPr>
            <p:cNvPr id="34" name="Group 33"/>
            <p:cNvGrpSpPr/>
            <p:nvPr/>
          </p:nvGrpSpPr>
          <p:grpSpPr>
            <a:xfrm>
              <a:off x="10999013" y="849614"/>
              <a:ext cx="276809" cy="61257"/>
              <a:chOff x="10999013" y="849614"/>
              <a:chExt cx="276809" cy="61257"/>
            </a:xfrm>
            <a:solidFill>
              <a:schemeClr val="accent3"/>
            </a:solidFill>
          </p:grpSpPr>
          <p:sp>
            <p:nvSpPr>
              <p:cNvPr id="35" name="TextBox 34"/>
              <p:cNvSpPr txBox="1">
                <a:spLocks/>
              </p:cNvSpPr>
              <p:nvPr/>
            </p:nvSpPr>
            <p:spPr>
              <a:xfrm>
                <a:off x="10999013" y="849614"/>
                <a:ext cx="60220" cy="61257"/>
              </a:xfrm>
              <a:custGeom>
                <a:avLst/>
                <a:gdLst/>
                <a:ahLst/>
                <a:cxnLst/>
                <a:rect l="l" t="t" r="r" b="b"/>
                <a:pathLst>
                  <a:path w="130738" h="132991">
                    <a:moveTo>
                      <a:pt x="65709" y="0"/>
                    </a:moveTo>
                    <a:cubicBezTo>
                      <a:pt x="86122" y="0"/>
                      <a:pt x="102063" y="5891"/>
                      <a:pt x="113533" y="17673"/>
                    </a:cubicBezTo>
                    <a:cubicBezTo>
                      <a:pt x="125003" y="29455"/>
                      <a:pt x="130738" y="45715"/>
                      <a:pt x="130738" y="66451"/>
                    </a:cubicBezTo>
                    <a:cubicBezTo>
                      <a:pt x="130738" y="87129"/>
                      <a:pt x="124987" y="103389"/>
                      <a:pt x="113485" y="115230"/>
                    </a:cubicBezTo>
                    <a:cubicBezTo>
                      <a:pt x="101982" y="127071"/>
                      <a:pt x="85992" y="132991"/>
                      <a:pt x="65515" y="132991"/>
                    </a:cubicBezTo>
                    <a:cubicBezTo>
                      <a:pt x="44584" y="132991"/>
                      <a:pt x="28432" y="127174"/>
                      <a:pt x="17059" y="115539"/>
                    </a:cubicBezTo>
                    <a:cubicBezTo>
                      <a:pt x="5686" y="103904"/>
                      <a:pt x="0" y="87483"/>
                      <a:pt x="0" y="66275"/>
                    </a:cubicBezTo>
                    <a:cubicBezTo>
                      <a:pt x="0" y="45243"/>
                      <a:pt x="5702" y="28940"/>
                      <a:pt x="17107" y="17364"/>
                    </a:cubicBezTo>
                    <a:cubicBezTo>
                      <a:pt x="28513" y="5788"/>
                      <a:pt x="44713" y="0"/>
                      <a:pt x="65709" y="0"/>
                    </a:cubicBezTo>
                    <a:close/>
                    <a:moveTo>
                      <a:pt x="65709" y="13431"/>
                    </a:moveTo>
                    <a:cubicBezTo>
                      <a:pt x="49962" y="13431"/>
                      <a:pt x="37990" y="17953"/>
                      <a:pt x="29793" y="26996"/>
                    </a:cubicBezTo>
                    <a:cubicBezTo>
                      <a:pt x="21595" y="36038"/>
                      <a:pt x="17496" y="49190"/>
                      <a:pt x="17496" y="66451"/>
                    </a:cubicBezTo>
                    <a:cubicBezTo>
                      <a:pt x="17496" y="83948"/>
                      <a:pt x="21595" y="97218"/>
                      <a:pt x="29793" y="106261"/>
                    </a:cubicBezTo>
                    <a:cubicBezTo>
                      <a:pt x="37990" y="115303"/>
                      <a:pt x="49897" y="119825"/>
                      <a:pt x="65515" y="119825"/>
                    </a:cubicBezTo>
                    <a:cubicBezTo>
                      <a:pt x="81262" y="119825"/>
                      <a:pt x="93153" y="115318"/>
                      <a:pt x="101188" y="106305"/>
                    </a:cubicBezTo>
                    <a:cubicBezTo>
                      <a:pt x="109224" y="97291"/>
                      <a:pt x="113242" y="84007"/>
                      <a:pt x="113242" y="66451"/>
                    </a:cubicBezTo>
                    <a:cubicBezTo>
                      <a:pt x="113242" y="49073"/>
                      <a:pt x="109240" y="35891"/>
                      <a:pt x="101237" y="26907"/>
                    </a:cubicBezTo>
                    <a:cubicBezTo>
                      <a:pt x="93234" y="17923"/>
                      <a:pt x="81391" y="13431"/>
                      <a:pt x="65709" y="13431"/>
                    </a:cubicBez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36" name="TextBox 35"/>
              <p:cNvSpPr txBox="1">
                <a:spLocks/>
              </p:cNvSpPr>
              <p:nvPr/>
            </p:nvSpPr>
            <p:spPr>
              <a:xfrm>
                <a:off x="11068225" y="850549"/>
                <a:ext cx="36490" cy="59507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60620"/>
                    </a:lnTo>
                    <a:lnTo>
                      <a:pt x="75430" y="60620"/>
                    </a:lnTo>
                    <a:lnTo>
                      <a:pt x="75430" y="73963"/>
                    </a:lnTo>
                    <a:lnTo>
                      <a:pt x="16525" y="73963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37" name="TextBox 36"/>
              <p:cNvSpPr txBox="1">
                <a:spLocks/>
              </p:cNvSpPr>
              <p:nvPr/>
            </p:nvSpPr>
            <p:spPr>
              <a:xfrm>
                <a:off x="11121455" y="850549"/>
                <a:ext cx="49071" cy="59507"/>
              </a:xfrm>
              <a:custGeom>
                <a:avLst/>
                <a:gdLst/>
                <a:ahLst/>
                <a:cxnLst/>
                <a:rect l="l" t="t" r="r" b="b"/>
                <a:pathLst>
                  <a:path w="106535" h="129192">
                    <a:moveTo>
                      <a:pt x="0" y="0"/>
                    </a:moveTo>
                    <a:lnTo>
                      <a:pt x="106535" y="0"/>
                    </a:lnTo>
                    <a:lnTo>
                      <a:pt x="106535" y="13343"/>
                    </a:lnTo>
                    <a:lnTo>
                      <a:pt x="61530" y="13343"/>
                    </a:lnTo>
                    <a:lnTo>
                      <a:pt x="61530" y="129192"/>
                    </a:lnTo>
                    <a:lnTo>
                      <a:pt x="45005" y="129192"/>
                    </a:lnTo>
                    <a:lnTo>
                      <a:pt x="45005" y="13343"/>
                    </a:lnTo>
                    <a:lnTo>
                      <a:pt x="0" y="13343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38" name="TextBox 37"/>
              <p:cNvSpPr txBox="1">
                <a:spLocks/>
              </p:cNvSpPr>
              <p:nvPr/>
            </p:nvSpPr>
            <p:spPr>
              <a:xfrm>
                <a:off x="11177909" y="850549"/>
                <a:ext cx="49698" cy="59507"/>
              </a:xfrm>
              <a:custGeom>
                <a:avLst/>
                <a:gdLst/>
                <a:ahLst/>
                <a:cxnLst/>
                <a:rect l="l" t="t" r="r" b="b"/>
                <a:pathLst>
                  <a:path w="107896" h="129192">
                    <a:moveTo>
                      <a:pt x="0" y="0"/>
                    </a:moveTo>
                    <a:lnTo>
                      <a:pt x="16525" y="0"/>
                    </a:lnTo>
                    <a:lnTo>
                      <a:pt x="16525" y="54964"/>
                    </a:lnTo>
                    <a:lnTo>
                      <a:pt x="91371" y="54964"/>
                    </a:lnTo>
                    <a:lnTo>
                      <a:pt x="91371" y="0"/>
                    </a:lnTo>
                    <a:lnTo>
                      <a:pt x="107896" y="0"/>
                    </a:lnTo>
                    <a:lnTo>
                      <a:pt x="107896" y="129192"/>
                    </a:lnTo>
                    <a:lnTo>
                      <a:pt x="91371" y="129192"/>
                    </a:lnTo>
                    <a:lnTo>
                      <a:pt x="91371" y="68396"/>
                    </a:lnTo>
                    <a:lnTo>
                      <a:pt x="16525" y="68396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39" name="TextBox 38"/>
              <p:cNvSpPr txBox="1">
                <a:spLocks/>
              </p:cNvSpPr>
              <p:nvPr/>
            </p:nvSpPr>
            <p:spPr>
              <a:xfrm>
                <a:off x="11239332" y="850549"/>
                <a:ext cx="36490" cy="59507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54964"/>
                    </a:lnTo>
                    <a:lnTo>
                      <a:pt x="75430" y="54964"/>
                    </a:lnTo>
                    <a:lnTo>
                      <a:pt x="75430" y="68219"/>
                    </a:lnTo>
                    <a:lnTo>
                      <a:pt x="16525" y="68219"/>
                    </a:lnTo>
                    <a:lnTo>
                      <a:pt x="16525" y="115760"/>
                    </a:lnTo>
                    <a:lnTo>
                      <a:pt x="79221" y="115760"/>
                    </a:lnTo>
                    <a:lnTo>
                      <a:pt x="79221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</p:grpSp>
        <p:sp>
          <p:nvSpPr>
            <p:cNvPr id="40" name="Freeform 9"/>
            <p:cNvSpPr>
              <a:spLocks noEditPoints="1"/>
            </p:cNvSpPr>
            <p:nvPr/>
          </p:nvSpPr>
          <p:spPr bwMode="auto">
            <a:xfrm>
              <a:off x="10577133" y="371026"/>
              <a:ext cx="1417320" cy="783522"/>
            </a:xfrm>
            <a:custGeom>
              <a:avLst/>
              <a:gdLst>
                <a:gd name="T0" fmla="*/ 279 w 326"/>
                <a:gd name="T1" fmla="*/ 180 h 180"/>
                <a:gd name="T2" fmla="*/ 271 w 326"/>
                <a:gd name="T3" fmla="*/ 179 h 180"/>
                <a:gd name="T4" fmla="*/ 45 w 326"/>
                <a:gd name="T5" fmla="*/ 179 h 180"/>
                <a:gd name="T6" fmla="*/ 6 w 326"/>
                <a:gd name="T7" fmla="*/ 153 h 180"/>
                <a:gd name="T8" fmla="*/ 0 w 326"/>
                <a:gd name="T9" fmla="*/ 129 h 180"/>
                <a:gd name="T10" fmla="*/ 32 w 326"/>
                <a:gd name="T11" fmla="*/ 82 h 180"/>
                <a:gd name="T12" fmla="*/ 30 w 326"/>
                <a:gd name="T13" fmla="*/ 70 h 180"/>
                <a:gd name="T14" fmla="*/ 100 w 326"/>
                <a:gd name="T15" fmla="*/ 0 h 180"/>
                <a:gd name="T16" fmla="*/ 154 w 326"/>
                <a:gd name="T17" fmla="*/ 26 h 180"/>
                <a:gd name="T18" fmla="*/ 187 w 326"/>
                <a:gd name="T19" fmla="*/ 16 h 180"/>
                <a:gd name="T20" fmla="*/ 242 w 326"/>
                <a:gd name="T21" fmla="*/ 55 h 180"/>
                <a:gd name="T22" fmla="*/ 245 w 326"/>
                <a:gd name="T23" fmla="*/ 54 h 180"/>
                <a:gd name="T24" fmla="*/ 280 w 326"/>
                <a:gd name="T25" fmla="*/ 85 h 180"/>
                <a:gd name="T26" fmla="*/ 326 w 326"/>
                <a:gd name="T27" fmla="*/ 132 h 180"/>
                <a:gd name="T28" fmla="*/ 279 w 326"/>
                <a:gd name="T29" fmla="*/ 180 h 180"/>
                <a:gd name="T30" fmla="*/ 100 w 326"/>
                <a:gd name="T31" fmla="*/ 4 h 180"/>
                <a:gd name="T32" fmla="*/ 34 w 326"/>
                <a:gd name="T33" fmla="*/ 70 h 180"/>
                <a:gd name="T34" fmla="*/ 36 w 326"/>
                <a:gd name="T35" fmla="*/ 83 h 180"/>
                <a:gd name="T36" fmla="*/ 36 w 326"/>
                <a:gd name="T37" fmla="*/ 85 h 180"/>
                <a:gd name="T38" fmla="*/ 35 w 326"/>
                <a:gd name="T39" fmla="*/ 86 h 180"/>
                <a:gd name="T40" fmla="*/ 4 w 326"/>
                <a:gd name="T41" fmla="*/ 129 h 180"/>
                <a:gd name="T42" fmla="*/ 10 w 326"/>
                <a:gd name="T43" fmla="*/ 151 h 180"/>
                <a:gd name="T44" fmla="*/ 10 w 326"/>
                <a:gd name="T45" fmla="*/ 151 h 180"/>
                <a:gd name="T46" fmla="*/ 45 w 326"/>
                <a:gd name="T47" fmla="*/ 175 h 180"/>
                <a:gd name="T48" fmla="*/ 271 w 326"/>
                <a:gd name="T49" fmla="*/ 175 h 180"/>
                <a:gd name="T50" fmla="*/ 272 w 326"/>
                <a:gd name="T51" fmla="*/ 175 h 180"/>
                <a:gd name="T52" fmla="*/ 279 w 326"/>
                <a:gd name="T53" fmla="*/ 176 h 180"/>
                <a:gd name="T54" fmla="*/ 322 w 326"/>
                <a:gd name="T55" fmla="*/ 132 h 180"/>
                <a:gd name="T56" fmla="*/ 279 w 326"/>
                <a:gd name="T57" fmla="*/ 89 h 180"/>
                <a:gd name="T58" fmla="*/ 278 w 326"/>
                <a:gd name="T59" fmla="*/ 89 h 180"/>
                <a:gd name="T60" fmla="*/ 276 w 326"/>
                <a:gd name="T61" fmla="*/ 89 h 180"/>
                <a:gd name="T62" fmla="*/ 276 w 326"/>
                <a:gd name="T63" fmla="*/ 87 h 180"/>
                <a:gd name="T64" fmla="*/ 245 w 326"/>
                <a:gd name="T65" fmla="*/ 58 h 180"/>
                <a:gd name="T66" fmla="*/ 240 w 326"/>
                <a:gd name="T67" fmla="*/ 59 h 180"/>
                <a:gd name="T68" fmla="*/ 239 w 326"/>
                <a:gd name="T69" fmla="*/ 59 h 180"/>
                <a:gd name="T70" fmla="*/ 238 w 326"/>
                <a:gd name="T71" fmla="*/ 57 h 180"/>
                <a:gd name="T72" fmla="*/ 187 w 326"/>
                <a:gd name="T73" fmla="*/ 20 h 180"/>
                <a:gd name="T74" fmla="*/ 155 w 326"/>
                <a:gd name="T75" fmla="*/ 30 h 180"/>
                <a:gd name="T76" fmla="*/ 153 w 326"/>
                <a:gd name="T77" fmla="*/ 31 h 180"/>
                <a:gd name="T78" fmla="*/ 152 w 326"/>
                <a:gd name="T79" fmla="*/ 30 h 180"/>
                <a:gd name="T80" fmla="*/ 100 w 326"/>
                <a:gd name="T81" fmla="*/ 4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26" h="180">
                  <a:moveTo>
                    <a:pt x="279" y="180"/>
                  </a:moveTo>
                  <a:cubicBezTo>
                    <a:pt x="276" y="180"/>
                    <a:pt x="274" y="179"/>
                    <a:pt x="271" y="179"/>
                  </a:cubicBezTo>
                  <a:cubicBezTo>
                    <a:pt x="45" y="179"/>
                    <a:pt x="45" y="179"/>
                    <a:pt x="45" y="179"/>
                  </a:cubicBezTo>
                  <a:cubicBezTo>
                    <a:pt x="28" y="179"/>
                    <a:pt x="13" y="169"/>
                    <a:pt x="6" y="153"/>
                  </a:cubicBezTo>
                  <a:cubicBezTo>
                    <a:pt x="2" y="146"/>
                    <a:pt x="0" y="137"/>
                    <a:pt x="0" y="129"/>
                  </a:cubicBezTo>
                  <a:cubicBezTo>
                    <a:pt x="0" y="109"/>
                    <a:pt x="13" y="90"/>
                    <a:pt x="32" y="82"/>
                  </a:cubicBezTo>
                  <a:cubicBezTo>
                    <a:pt x="31" y="78"/>
                    <a:pt x="30" y="74"/>
                    <a:pt x="30" y="70"/>
                  </a:cubicBezTo>
                  <a:cubicBezTo>
                    <a:pt x="30" y="32"/>
                    <a:pt x="62" y="0"/>
                    <a:pt x="100" y="0"/>
                  </a:cubicBezTo>
                  <a:cubicBezTo>
                    <a:pt x="121" y="0"/>
                    <a:pt x="141" y="10"/>
                    <a:pt x="154" y="26"/>
                  </a:cubicBezTo>
                  <a:cubicBezTo>
                    <a:pt x="164" y="19"/>
                    <a:pt x="175" y="16"/>
                    <a:pt x="187" y="16"/>
                  </a:cubicBezTo>
                  <a:cubicBezTo>
                    <a:pt x="212" y="16"/>
                    <a:pt x="233" y="31"/>
                    <a:pt x="242" y="55"/>
                  </a:cubicBezTo>
                  <a:cubicBezTo>
                    <a:pt x="243" y="54"/>
                    <a:pt x="244" y="54"/>
                    <a:pt x="245" y="54"/>
                  </a:cubicBezTo>
                  <a:cubicBezTo>
                    <a:pt x="263" y="54"/>
                    <a:pt x="278" y="68"/>
                    <a:pt x="280" y="85"/>
                  </a:cubicBezTo>
                  <a:cubicBezTo>
                    <a:pt x="305" y="86"/>
                    <a:pt x="326" y="107"/>
                    <a:pt x="326" y="132"/>
                  </a:cubicBezTo>
                  <a:cubicBezTo>
                    <a:pt x="326" y="158"/>
                    <a:pt x="305" y="180"/>
                    <a:pt x="279" y="180"/>
                  </a:cubicBezTo>
                  <a:close/>
                  <a:moveTo>
                    <a:pt x="100" y="4"/>
                  </a:moveTo>
                  <a:cubicBezTo>
                    <a:pt x="64" y="4"/>
                    <a:pt x="34" y="34"/>
                    <a:pt x="34" y="70"/>
                  </a:cubicBezTo>
                  <a:cubicBezTo>
                    <a:pt x="34" y="75"/>
                    <a:pt x="35" y="79"/>
                    <a:pt x="36" y="83"/>
                  </a:cubicBezTo>
                  <a:cubicBezTo>
                    <a:pt x="36" y="85"/>
                    <a:pt x="36" y="85"/>
                    <a:pt x="36" y="85"/>
                  </a:cubicBezTo>
                  <a:cubicBezTo>
                    <a:pt x="35" y="86"/>
                    <a:pt x="35" y="86"/>
                    <a:pt x="35" y="86"/>
                  </a:cubicBezTo>
                  <a:cubicBezTo>
                    <a:pt x="16" y="92"/>
                    <a:pt x="4" y="110"/>
                    <a:pt x="4" y="129"/>
                  </a:cubicBezTo>
                  <a:cubicBezTo>
                    <a:pt x="4" y="137"/>
                    <a:pt x="6" y="144"/>
                    <a:pt x="10" y="151"/>
                  </a:cubicBezTo>
                  <a:cubicBezTo>
                    <a:pt x="10" y="151"/>
                    <a:pt x="10" y="151"/>
                    <a:pt x="10" y="151"/>
                  </a:cubicBezTo>
                  <a:cubicBezTo>
                    <a:pt x="16" y="166"/>
                    <a:pt x="30" y="175"/>
                    <a:pt x="45" y="175"/>
                  </a:cubicBezTo>
                  <a:cubicBezTo>
                    <a:pt x="271" y="175"/>
                    <a:pt x="271" y="175"/>
                    <a:pt x="271" y="175"/>
                  </a:cubicBezTo>
                  <a:cubicBezTo>
                    <a:pt x="272" y="175"/>
                    <a:pt x="272" y="175"/>
                    <a:pt x="272" y="175"/>
                  </a:cubicBezTo>
                  <a:cubicBezTo>
                    <a:pt x="274" y="175"/>
                    <a:pt x="276" y="176"/>
                    <a:pt x="279" y="176"/>
                  </a:cubicBezTo>
                  <a:cubicBezTo>
                    <a:pt x="303" y="176"/>
                    <a:pt x="322" y="156"/>
                    <a:pt x="322" y="132"/>
                  </a:cubicBezTo>
                  <a:cubicBezTo>
                    <a:pt x="322" y="109"/>
                    <a:pt x="303" y="89"/>
                    <a:pt x="279" y="89"/>
                  </a:cubicBezTo>
                  <a:cubicBezTo>
                    <a:pt x="279" y="89"/>
                    <a:pt x="278" y="89"/>
                    <a:pt x="278" y="89"/>
                  </a:cubicBezTo>
                  <a:cubicBezTo>
                    <a:pt x="276" y="89"/>
                    <a:pt x="276" y="89"/>
                    <a:pt x="276" y="89"/>
                  </a:cubicBezTo>
                  <a:cubicBezTo>
                    <a:pt x="276" y="87"/>
                    <a:pt x="276" y="87"/>
                    <a:pt x="276" y="87"/>
                  </a:cubicBezTo>
                  <a:cubicBezTo>
                    <a:pt x="275" y="71"/>
                    <a:pt x="261" y="58"/>
                    <a:pt x="245" y="58"/>
                  </a:cubicBezTo>
                  <a:cubicBezTo>
                    <a:pt x="243" y="58"/>
                    <a:pt x="242" y="59"/>
                    <a:pt x="240" y="59"/>
                  </a:cubicBezTo>
                  <a:cubicBezTo>
                    <a:pt x="239" y="59"/>
                    <a:pt x="239" y="59"/>
                    <a:pt x="239" y="59"/>
                  </a:cubicBezTo>
                  <a:cubicBezTo>
                    <a:pt x="238" y="57"/>
                    <a:pt x="238" y="57"/>
                    <a:pt x="238" y="57"/>
                  </a:cubicBezTo>
                  <a:cubicBezTo>
                    <a:pt x="231" y="35"/>
                    <a:pt x="210" y="20"/>
                    <a:pt x="187" y="20"/>
                  </a:cubicBezTo>
                  <a:cubicBezTo>
                    <a:pt x="175" y="20"/>
                    <a:pt x="164" y="23"/>
                    <a:pt x="155" y="30"/>
                  </a:cubicBezTo>
                  <a:cubicBezTo>
                    <a:pt x="153" y="31"/>
                    <a:pt x="153" y="31"/>
                    <a:pt x="153" y="31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39" y="14"/>
                    <a:pt x="121" y="4"/>
                    <a:pt x="100" y="4"/>
                  </a:cubicBezTo>
                  <a:close/>
                </a:path>
              </a:pathLst>
            </a:custGeom>
            <a:solidFill>
              <a:srgbClr val="34697F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4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96379"/>
            <a:ext cx="9688623" cy="476805"/>
          </a:xfrm>
          <a:prstGeom prst="rect">
            <a:avLst/>
          </a:prstGeom>
        </p:spPr>
        <p:txBody>
          <a:bodyPr tIns="0" bIns="0" anchor="t" anchorCtr="0"/>
          <a:lstStyle>
            <a:lvl1pPr algn="l">
              <a:defRPr sz="3000" b="1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4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860151"/>
            <a:ext cx="9688622" cy="423094"/>
          </a:xfrm>
          <a:prstGeom prst="rect">
            <a:avLst/>
          </a:prstGeom>
        </p:spPr>
        <p:txBody>
          <a:bodyPr anchor="ctr"/>
          <a:lstStyle>
            <a:lvl1pPr algn="l">
              <a:lnSpc>
                <a:spcPct val="90000"/>
              </a:lnSpc>
              <a:spcBef>
                <a:spcPts val="0"/>
              </a:spcBef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41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3178629" y="2011681"/>
            <a:ext cx="8551409" cy="4174372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Body text</a:t>
            </a:r>
          </a:p>
        </p:txBody>
      </p:sp>
      <p:sp>
        <p:nvSpPr>
          <p:cNvPr id="44" name="Content Placeholder 8"/>
          <p:cNvSpPr txBox="1">
            <a:spLocks/>
          </p:cNvSpPr>
          <p:nvPr userDrawn="1"/>
        </p:nvSpPr>
        <p:spPr>
          <a:xfrm>
            <a:off x="547922" y="6418626"/>
            <a:ext cx="2383745" cy="2286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sz="800" dirty="0">
                <a:solidFill>
                  <a:schemeClr val="tx2">
                    <a:lumMod val="40000"/>
                    <a:lumOff val="6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©2018</a:t>
            </a: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nal Slide - Photo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3234240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66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Picture Placeholder 5"/>
          <p:cNvSpPr>
            <a:spLocks noGrp="1"/>
          </p:cNvSpPr>
          <p:nvPr>
            <p:ph type="pic" sz="quarter" idx="13" hasCustomPrompt="1"/>
          </p:nvPr>
        </p:nvSpPr>
        <p:spPr>
          <a:xfrm>
            <a:off x="1" y="1554480"/>
            <a:ext cx="3291840" cy="5303519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algn="ctr">
              <a:defRPr sz="320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55" name="Rectangle 54"/>
          <p:cNvSpPr/>
          <p:nvPr/>
        </p:nvSpPr>
        <p:spPr>
          <a:xfrm>
            <a:off x="0" y="1"/>
            <a:ext cx="12191996" cy="1554480"/>
          </a:xfrm>
          <a:prstGeom prst="rect">
            <a:avLst/>
          </a:prstGeom>
          <a:solidFill>
            <a:srgbClr val="064E69"/>
          </a:solidFill>
        </p:spPr>
        <p:txBody>
          <a:bodyPr wrap="square" lIns="548640" tIns="0" rIns="91440" bIns="0" anchor="ctr">
            <a:noAutofit/>
          </a:bodyPr>
          <a:lstStyle/>
          <a:p>
            <a:endParaRPr lang="en-US" sz="4000" b="1" dirty="0">
              <a:solidFill>
                <a:schemeClr val="bg1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6" name="Rectangle 55"/>
          <p:cNvSpPr/>
          <p:nvPr/>
        </p:nvSpPr>
        <p:spPr>
          <a:xfrm>
            <a:off x="-1" y="1448246"/>
            <a:ext cx="12192127" cy="106731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7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96379"/>
            <a:ext cx="9688623" cy="476805"/>
          </a:xfrm>
          <a:prstGeom prst="rect">
            <a:avLst/>
          </a:prstGeom>
        </p:spPr>
        <p:txBody>
          <a:bodyPr tIns="0" bIns="0" anchor="t" anchorCtr="0"/>
          <a:lstStyle>
            <a:lvl1pPr algn="l">
              <a:defRPr sz="3000" b="1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58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860151"/>
            <a:ext cx="9688622" cy="423094"/>
          </a:xfrm>
          <a:prstGeom prst="rect">
            <a:avLst/>
          </a:prstGeom>
        </p:spPr>
        <p:txBody>
          <a:bodyPr anchor="ctr"/>
          <a:lstStyle>
            <a:lvl1pPr algn="l">
              <a:lnSpc>
                <a:spcPct val="90000"/>
              </a:lnSpc>
              <a:spcBef>
                <a:spcPts val="0"/>
              </a:spcBef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cxnSp>
        <p:nvCxnSpPr>
          <p:cNvPr id="59" name="Straight Connector 58"/>
          <p:cNvCxnSpPr/>
          <p:nvPr/>
        </p:nvCxnSpPr>
        <p:spPr>
          <a:xfrm>
            <a:off x="10363874" y="222724"/>
            <a:ext cx="0" cy="1032988"/>
          </a:xfrm>
          <a:prstGeom prst="line">
            <a:avLst/>
          </a:prstGeom>
          <a:ln w="15875" cmpd="sng">
            <a:solidFill>
              <a:schemeClr val="accent2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TextBox 62"/>
          <p:cNvSpPr txBox="1">
            <a:spLocks/>
          </p:cNvSpPr>
          <p:nvPr/>
        </p:nvSpPr>
        <p:spPr>
          <a:xfrm>
            <a:off x="11008872" y="633221"/>
            <a:ext cx="224212" cy="176024"/>
          </a:xfrm>
          <a:custGeom>
            <a:avLst/>
            <a:gdLst/>
            <a:ahLst/>
            <a:cxnLst/>
            <a:rect l="l" t="t" r="r" b="b"/>
            <a:pathLst>
              <a:path w="486642" h="382152">
                <a:moveTo>
                  <a:pt x="150943" y="0"/>
                </a:moveTo>
                <a:cubicBezTo>
                  <a:pt x="191582" y="0"/>
                  <a:pt x="224490" y="12368"/>
                  <a:pt x="232082" y="39810"/>
                </a:cubicBezTo>
                <a:lnTo>
                  <a:pt x="232262" y="41192"/>
                </a:lnTo>
                <a:lnTo>
                  <a:pt x="244394" y="27828"/>
                </a:lnTo>
                <a:cubicBezTo>
                  <a:pt x="265912" y="9086"/>
                  <a:pt x="296328" y="0"/>
                  <a:pt x="331918" y="0"/>
                </a:cubicBezTo>
                <a:cubicBezTo>
                  <a:pt x="355140" y="0"/>
                  <a:pt x="375838" y="4038"/>
                  <a:pt x="390730" y="12620"/>
                </a:cubicBezTo>
                <a:lnTo>
                  <a:pt x="399550" y="19037"/>
                </a:lnTo>
                <a:lnTo>
                  <a:pt x="415123" y="9213"/>
                </a:lnTo>
                <a:cubicBezTo>
                  <a:pt x="421204" y="6846"/>
                  <a:pt x="427956" y="5553"/>
                  <a:pt x="435150" y="5553"/>
                </a:cubicBezTo>
                <a:cubicBezTo>
                  <a:pt x="464430" y="5553"/>
                  <a:pt x="486642" y="26250"/>
                  <a:pt x="486642" y="53511"/>
                </a:cubicBezTo>
                <a:cubicBezTo>
                  <a:pt x="486642" y="80772"/>
                  <a:pt x="464430" y="101974"/>
                  <a:pt x="435150" y="101974"/>
                </a:cubicBezTo>
                <a:cubicBezTo>
                  <a:pt x="420763" y="101974"/>
                  <a:pt x="408142" y="96674"/>
                  <a:pt x="399118" y="87965"/>
                </a:cubicBezTo>
                <a:lnTo>
                  <a:pt x="397141" y="85099"/>
                </a:lnTo>
                <a:lnTo>
                  <a:pt x="387023" y="90979"/>
                </a:lnTo>
                <a:cubicBezTo>
                  <a:pt x="381675" y="92887"/>
                  <a:pt x="375838" y="93897"/>
                  <a:pt x="369780" y="93897"/>
                </a:cubicBezTo>
                <a:cubicBezTo>
                  <a:pt x="355140" y="93897"/>
                  <a:pt x="342015" y="89354"/>
                  <a:pt x="335452" y="81781"/>
                </a:cubicBezTo>
                <a:cubicBezTo>
                  <a:pt x="350092" y="78247"/>
                  <a:pt x="359179" y="66132"/>
                  <a:pt x="359179" y="42910"/>
                </a:cubicBezTo>
                <a:cubicBezTo>
                  <a:pt x="359179" y="22717"/>
                  <a:pt x="350597" y="8077"/>
                  <a:pt x="331918" y="8077"/>
                </a:cubicBezTo>
                <a:cubicBezTo>
                  <a:pt x="308696" y="8077"/>
                  <a:pt x="300619" y="29784"/>
                  <a:pt x="300619" y="58054"/>
                </a:cubicBezTo>
                <a:lnTo>
                  <a:pt x="300619" y="132264"/>
                </a:lnTo>
                <a:lnTo>
                  <a:pt x="363217" y="132264"/>
                </a:lnTo>
                <a:lnTo>
                  <a:pt x="360693" y="144884"/>
                </a:lnTo>
                <a:lnTo>
                  <a:pt x="300619" y="144884"/>
                </a:lnTo>
                <a:lnTo>
                  <a:pt x="300619" y="327126"/>
                </a:lnTo>
                <a:cubicBezTo>
                  <a:pt x="300619" y="360445"/>
                  <a:pt x="312230" y="369027"/>
                  <a:pt x="339490" y="381142"/>
                </a:cubicBezTo>
                <a:lnTo>
                  <a:pt x="339490" y="382152"/>
                </a:lnTo>
                <a:lnTo>
                  <a:pt x="186529" y="382152"/>
                </a:lnTo>
                <a:lnTo>
                  <a:pt x="186529" y="381142"/>
                </a:lnTo>
                <a:cubicBezTo>
                  <a:pt x="208741" y="367007"/>
                  <a:pt x="210255" y="360445"/>
                  <a:pt x="210255" y="327126"/>
                </a:cubicBezTo>
                <a:lnTo>
                  <a:pt x="210255" y="144884"/>
                </a:lnTo>
                <a:lnTo>
                  <a:pt x="180976" y="144884"/>
                </a:lnTo>
                <a:lnTo>
                  <a:pt x="180976" y="139331"/>
                </a:lnTo>
                <a:lnTo>
                  <a:pt x="210255" y="128225"/>
                </a:lnTo>
                <a:lnTo>
                  <a:pt x="210255" y="113585"/>
                </a:lnTo>
                <a:lnTo>
                  <a:pt x="212504" y="87227"/>
                </a:lnTo>
                <a:lnTo>
                  <a:pt x="206048" y="90979"/>
                </a:lnTo>
                <a:cubicBezTo>
                  <a:pt x="200700" y="92887"/>
                  <a:pt x="194863" y="93897"/>
                  <a:pt x="188805" y="93897"/>
                </a:cubicBezTo>
                <a:cubicBezTo>
                  <a:pt x="174165" y="93897"/>
                  <a:pt x="161040" y="89354"/>
                  <a:pt x="154477" y="81781"/>
                </a:cubicBezTo>
                <a:cubicBezTo>
                  <a:pt x="169117" y="78247"/>
                  <a:pt x="178204" y="66132"/>
                  <a:pt x="178204" y="42910"/>
                </a:cubicBezTo>
                <a:cubicBezTo>
                  <a:pt x="178204" y="22717"/>
                  <a:pt x="169622" y="8077"/>
                  <a:pt x="150943" y="8077"/>
                </a:cubicBezTo>
                <a:cubicBezTo>
                  <a:pt x="127721" y="8077"/>
                  <a:pt x="119644" y="29784"/>
                  <a:pt x="119644" y="58054"/>
                </a:cubicBezTo>
                <a:lnTo>
                  <a:pt x="119644" y="132264"/>
                </a:lnTo>
                <a:lnTo>
                  <a:pt x="182242" y="132264"/>
                </a:lnTo>
                <a:lnTo>
                  <a:pt x="179718" y="144884"/>
                </a:lnTo>
                <a:lnTo>
                  <a:pt x="119644" y="144884"/>
                </a:lnTo>
                <a:lnTo>
                  <a:pt x="119644" y="327126"/>
                </a:lnTo>
                <a:cubicBezTo>
                  <a:pt x="119644" y="360445"/>
                  <a:pt x="131255" y="369027"/>
                  <a:pt x="158516" y="381142"/>
                </a:cubicBezTo>
                <a:lnTo>
                  <a:pt x="158516" y="382152"/>
                </a:lnTo>
                <a:lnTo>
                  <a:pt x="5554" y="382152"/>
                </a:lnTo>
                <a:lnTo>
                  <a:pt x="5554" y="381142"/>
                </a:lnTo>
                <a:cubicBezTo>
                  <a:pt x="27766" y="367007"/>
                  <a:pt x="29280" y="360445"/>
                  <a:pt x="29280" y="327126"/>
                </a:cubicBezTo>
                <a:lnTo>
                  <a:pt x="29280" y="144884"/>
                </a:lnTo>
                <a:lnTo>
                  <a:pt x="0" y="144884"/>
                </a:lnTo>
                <a:lnTo>
                  <a:pt x="0" y="139331"/>
                </a:lnTo>
                <a:lnTo>
                  <a:pt x="29280" y="128225"/>
                </a:lnTo>
                <a:lnTo>
                  <a:pt x="29280" y="113585"/>
                </a:lnTo>
                <a:cubicBezTo>
                  <a:pt x="29280" y="36347"/>
                  <a:pt x="79763" y="0"/>
                  <a:pt x="150943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4" name="TextBox 63"/>
          <p:cNvSpPr txBox="1">
            <a:spLocks/>
          </p:cNvSpPr>
          <p:nvPr/>
        </p:nvSpPr>
        <p:spPr>
          <a:xfrm>
            <a:off x="10828278" y="644150"/>
            <a:ext cx="167232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5" name="TextBox 64"/>
          <p:cNvSpPr txBox="1">
            <a:spLocks/>
          </p:cNvSpPr>
          <p:nvPr/>
        </p:nvSpPr>
        <p:spPr>
          <a:xfrm>
            <a:off x="11252333" y="691818"/>
            <a:ext cx="113038" cy="119752"/>
          </a:xfrm>
          <a:custGeom>
            <a:avLst/>
            <a:gdLst/>
            <a:ahLst/>
            <a:cxnLst/>
            <a:rect l="l" t="t" r="r" b="b"/>
            <a:pathLst>
              <a:path w="245345" h="259984">
                <a:moveTo>
                  <a:pt x="144885" y="0"/>
                </a:moveTo>
                <a:cubicBezTo>
                  <a:pt x="199406" y="0"/>
                  <a:pt x="240297" y="23726"/>
                  <a:pt x="240297" y="65122"/>
                </a:cubicBezTo>
                <a:cubicBezTo>
                  <a:pt x="240297" y="95411"/>
                  <a:pt x="217075" y="111061"/>
                  <a:pt x="192843" y="111061"/>
                </a:cubicBezTo>
                <a:cubicBezTo>
                  <a:pt x="166087" y="111061"/>
                  <a:pt x="150438" y="96421"/>
                  <a:pt x="148923" y="81781"/>
                </a:cubicBezTo>
                <a:cubicBezTo>
                  <a:pt x="151952" y="82791"/>
                  <a:pt x="155486" y="83296"/>
                  <a:pt x="158010" y="83296"/>
                </a:cubicBezTo>
                <a:cubicBezTo>
                  <a:pt x="176689" y="83296"/>
                  <a:pt x="184261" y="67646"/>
                  <a:pt x="184261" y="48463"/>
                </a:cubicBezTo>
                <a:cubicBezTo>
                  <a:pt x="184261" y="24231"/>
                  <a:pt x="171136" y="8582"/>
                  <a:pt x="145894" y="8582"/>
                </a:cubicBezTo>
                <a:cubicBezTo>
                  <a:pt x="110557" y="8582"/>
                  <a:pt x="93897" y="54016"/>
                  <a:pt x="93897" y="112575"/>
                </a:cubicBezTo>
                <a:cubicBezTo>
                  <a:pt x="93897" y="181737"/>
                  <a:pt x="124692" y="218589"/>
                  <a:pt x="171640" y="218589"/>
                </a:cubicBezTo>
                <a:cubicBezTo>
                  <a:pt x="200415" y="218589"/>
                  <a:pt x="226666" y="204958"/>
                  <a:pt x="242316" y="173659"/>
                </a:cubicBezTo>
                <a:lnTo>
                  <a:pt x="245345" y="175174"/>
                </a:lnTo>
                <a:cubicBezTo>
                  <a:pt x="231210" y="229190"/>
                  <a:pt x="185775" y="259984"/>
                  <a:pt x="129740" y="259984"/>
                </a:cubicBezTo>
                <a:cubicBezTo>
                  <a:pt x="60074" y="259984"/>
                  <a:pt x="0" y="213036"/>
                  <a:pt x="0" y="134788"/>
                </a:cubicBezTo>
                <a:cubicBezTo>
                  <a:pt x="0" y="49977"/>
                  <a:pt x="63608" y="0"/>
                  <a:pt x="144885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6" name="TextBox 65"/>
          <p:cNvSpPr txBox="1">
            <a:spLocks/>
          </p:cNvSpPr>
          <p:nvPr/>
        </p:nvSpPr>
        <p:spPr>
          <a:xfrm>
            <a:off x="11375209" y="691818"/>
            <a:ext cx="116062" cy="119752"/>
          </a:xfrm>
          <a:custGeom>
            <a:avLst/>
            <a:gdLst/>
            <a:ahLst/>
            <a:cxnLst/>
            <a:rect l="l" t="t" r="r" b="b"/>
            <a:pathLst>
              <a:path w="251908" h="259984">
                <a:moveTo>
                  <a:pt x="132264" y="0"/>
                </a:moveTo>
                <a:cubicBezTo>
                  <a:pt x="213541" y="0"/>
                  <a:pt x="251908" y="51996"/>
                  <a:pt x="251908" y="118633"/>
                </a:cubicBezTo>
                <a:lnTo>
                  <a:pt x="91373" y="118633"/>
                </a:lnTo>
                <a:cubicBezTo>
                  <a:pt x="91373" y="181232"/>
                  <a:pt x="124187" y="218589"/>
                  <a:pt x="172650" y="218589"/>
                </a:cubicBezTo>
                <a:cubicBezTo>
                  <a:pt x="203444" y="218589"/>
                  <a:pt x="230200" y="204958"/>
                  <a:pt x="245850" y="173659"/>
                </a:cubicBezTo>
                <a:lnTo>
                  <a:pt x="249383" y="175174"/>
                </a:lnTo>
                <a:cubicBezTo>
                  <a:pt x="234744" y="229190"/>
                  <a:pt x="189309" y="259984"/>
                  <a:pt x="131759" y="259984"/>
                </a:cubicBezTo>
                <a:cubicBezTo>
                  <a:pt x="59569" y="259984"/>
                  <a:pt x="0" y="212531"/>
                  <a:pt x="0" y="130244"/>
                </a:cubicBezTo>
                <a:cubicBezTo>
                  <a:pt x="0" y="50987"/>
                  <a:pt x="60074" y="0"/>
                  <a:pt x="132264" y="0"/>
                </a:cubicBezTo>
                <a:close/>
                <a:moveTo>
                  <a:pt x="132264" y="8582"/>
                </a:moveTo>
                <a:cubicBezTo>
                  <a:pt x="106013" y="8582"/>
                  <a:pt x="92888" y="48463"/>
                  <a:pt x="91878" y="108032"/>
                </a:cubicBezTo>
                <a:lnTo>
                  <a:pt x="165078" y="108032"/>
                </a:lnTo>
                <a:cubicBezTo>
                  <a:pt x="165078" y="51492"/>
                  <a:pt x="161039" y="8582"/>
                  <a:pt x="132264" y="85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7" name="TextBox 66"/>
          <p:cNvSpPr txBox="1">
            <a:spLocks/>
          </p:cNvSpPr>
          <p:nvPr/>
        </p:nvSpPr>
        <p:spPr>
          <a:xfrm>
            <a:off x="11176798" y="694143"/>
            <a:ext cx="64892" cy="115102"/>
          </a:xfrm>
          <a:custGeom>
            <a:avLst/>
            <a:gdLst/>
            <a:ahLst/>
            <a:cxnLst/>
            <a:rect l="l" t="t" r="r" b="b"/>
            <a:pathLst>
              <a:path w="140846" h="249888">
                <a:moveTo>
                  <a:pt x="0" y="0"/>
                </a:moveTo>
                <a:lnTo>
                  <a:pt x="117119" y="0"/>
                </a:lnTo>
                <a:lnTo>
                  <a:pt x="117119" y="194862"/>
                </a:lnTo>
                <a:cubicBezTo>
                  <a:pt x="117119" y="228181"/>
                  <a:pt x="118633" y="234743"/>
                  <a:pt x="140846" y="248878"/>
                </a:cubicBezTo>
                <a:lnTo>
                  <a:pt x="140846" y="249888"/>
                </a:lnTo>
                <a:lnTo>
                  <a:pt x="3029" y="249888"/>
                </a:lnTo>
                <a:lnTo>
                  <a:pt x="3029" y="248878"/>
                </a:lnTo>
                <a:cubicBezTo>
                  <a:pt x="25241" y="234743"/>
                  <a:pt x="26755" y="228181"/>
                  <a:pt x="26755" y="194862"/>
                </a:cubicBezTo>
                <a:lnTo>
                  <a:pt x="26755" y="56035"/>
                </a:lnTo>
                <a:cubicBezTo>
                  <a:pt x="26755" y="21707"/>
                  <a:pt x="23726" y="14640"/>
                  <a:pt x="0" y="1009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8" name="TextBox 67"/>
          <p:cNvSpPr txBox="1">
            <a:spLocks/>
          </p:cNvSpPr>
          <p:nvPr/>
        </p:nvSpPr>
        <p:spPr>
          <a:xfrm>
            <a:off x="11298619" y="842827"/>
            <a:ext cx="149090" cy="167421"/>
          </a:xfrm>
          <a:custGeom>
            <a:avLst/>
            <a:gdLst/>
            <a:ahLst/>
            <a:cxnLst/>
            <a:rect l="l" t="t" r="r" b="b"/>
            <a:pathLst>
              <a:path w="323593" h="363474">
                <a:moveTo>
                  <a:pt x="190319" y="0"/>
                </a:moveTo>
                <a:cubicBezTo>
                  <a:pt x="236258" y="0"/>
                  <a:pt x="260994" y="15145"/>
                  <a:pt x="277653" y="15145"/>
                </a:cubicBezTo>
                <a:cubicBezTo>
                  <a:pt x="291284" y="15145"/>
                  <a:pt x="299866" y="9087"/>
                  <a:pt x="310467" y="0"/>
                </a:cubicBezTo>
                <a:lnTo>
                  <a:pt x="314001" y="120149"/>
                </a:lnTo>
                <a:lnTo>
                  <a:pt x="312991" y="120149"/>
                </a:lnTo>
                <a:cubicBezTo>
                  <a:pt x="287750" y="56541"/>
                  <a:pt x="250393" y="11107"/>
                  <a:pt x="199910" y="11107"/>
                </a:cubicBezTo>
                <a:cubicBezTo>
                  <a:pt x="137312" y="11107"/>
                  <a:pt x="101974" y="80268"/>
                  <a:pt x="101974" y="164573"/>
                </a:cubicBezTo>
                <a:cubicBezTo>
                  <a:pt x="101974" y="260490"/>
                  <a:pt x="155486" y="315011"/>
                  <a:pt x="221113" y="315011"/>
                </a:cubicBezTo>
                <a:cubicBezTo>
                  <a:pt x="263014" y="315011"/>
                  <a:pt x="297846" y="300371"/>
                  <a:pt x="320564" y="252918"/>
                </a:cubicBezTo>
                <a:lnTo>
                  <a:pt x="323593" y="253927"/>
                </a:lnTo>
                <a:cubicBezTo>
                  <a:pt x="306428" y="321574"/>
                  <a:pt x="252412" y="363474"/>
                  <a:pt x="173660" y="363474"/>
                </a:cubicBezTo>
                <a:cubicBezTo>
                  <a:pt x="74209" y="363474"/>
                  <a:pt x="0" y="293304"/>
                  <a:pt x="0" y="186786"/>
                </a:cubicBezTo>
                <a:cubicBezTo>
                  <a:pt x="0" y="76229"/>
                  <a:pt x="85820" y="0"/>
                  <a:pt x="190319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9" name="TextBox 68"/>
          <p:cNvSpPr txBox="1">
            <a:spLocks/>
          </p:cNvSpPr>
          <p:nvPr/>
        </p:nvSpPr>
        <p:spPr>
          <a:xfrm>
            <a:off x="11640919" y="842827"/>
            <a:ext cx="167232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0" name="TextBox 69"/>
          <p:cNvSpPr txBox="1">
            <a:spLocks/>
          </p:cNvSpPr>
          <p:nvPr/>
        </p:nvSpPr>
        <p:spPr>
          <a:xfrm>
            <a:off x="11457735" y="843060"/>
            <a:ext cx="172117" cy="164863"/>
          </a:xfrm>
          <a:custGeom>
            <a:avLst/>
            <a:gdLst/>
            <a:ahLst/>
            <a:cxnLst/>
            <a:rect l="l" t="t" r="r" b="b"/>
            <a:pathLst>
              <a:path w="373571" h="357921">
                <a:moveTo>
                  <a:pt x="17164" y="0"/>
                </a:moveTo>
                <a:cubicBezTo>
                  <a:pt x="24232" y="3534"/>
                  <a:pt x="35338" y="4544"/>
                  <a:pt x="52502" y="4544"/>
                </a:cubicBezTo>
                <a:lnTo>
                  <a:pt x="321069" y="4544"/>
                </a:lnTo>
                <a:cubicBezTo>
                  <a:pt x="338233" y="4544"/>
                  <a:pt x="349339" y="3534"/>
                  <a:pt x="356407" y="0"/>
                </a:cubicBezTo>
                <a:lnTo>
                  <a:pt x="373571" y="119644"/>
                </a:lnTo>
                <a:lnTo>
                  <a:pt x="372561" y="119644"/>
                </a:lnTo>
                <a:cubicBezTo>
                  <a:pt x="329651" y="50988"/>
                  <a:pt x="309963" y="17669"/>
                  <a:pt x="255946" y="17669"/>
                </a:cubicBezTo>
                <a:lnTo>
                  <a:pt x="234239" y="17669"/>
                </a:lnTo>
                <a:lnTo>
                  <a:pt x="234239" y="297847"/>
                </a:lnTo>
                <a:cubicBezTo>
                  <a:pt x="234239" y="331165"/>
                  <a:pt x="240802" y="342272"/>
                  <a:pt x="263014" y="356912"/>
                </a:cubicBezTo>
                <a:lnTo>
                  <a:pt x="263014" y="357921"/>
                </a:lnTo>
                <a:lnTo>
                  <a:pt x="110557" y="357921"/>
                </a:lnTo>
                <a:lnTo>
                  <a:pt x="110557" y="356912"/>
                </a:lnTo>
                <a:cubicBezTo>
                  <a:pt x="133274" y="342272"/>
                  <a:pt x="139332" y="331165"/>
                  <a:pt x="139332" y="297847"/>
                </a:cubicBezTo>
                <a:lnTo>
                  <a:pt x="139332" y="17669"/>
                </a:lnTo>
                <a:lnTo>
                  <a:pt x="117624" y="17669"/>
                </a:lnTo>
                <a:cubicBezTo>
                  <a:pt x="63608" y="17669"/>
                  <a:pt x="43920" y="50988"/>
                  <a:pt x="1010" y="119644"/>
                </a:cubicBezTo>
                <a:lnTo>
                  <a:pt x="0" y="119644"/>
                </a:lnTo>
                <a:lnTo>
                  <a:pt x="17164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11001879" y="849615"/>
            <a:ext cx="276881" cy="61257"/>
            <a:chOff x="10999013" y="849614"/>
            <a:chExt cx="276809" cy="61257"/>
          </a:xfrm>
          <a:solidFill>
            <a:schemeClr val="accent3"/>
          </a:solidFill>
        </p:grpSpPr>
        <p:sp>
          <p:nvSpPr>
            <p:cNvPr id="71" name="TextBox 70"/>
            <p:cNvSpPr txBox="1">
              <a:spLocks/>
            </p:cNvSpPr>
            <p:nvPr/>
          </p:nvSpPr>
          <p:spPr>
            <a:xfrm>
              <a:off x="10999013" y="849614"/>
              <a:ext cx="60220" cy="61257"/>
            </a:xfrm>
            <a:custGeom>
              <a:avLst/>
              <a:gdLst/>
              <a:ahLst/>
              <a:cxnLst/>
              <a:rect l="l" t="t" r="r" b="b"/>
              <a:pathLst>
                <a:path w="130738" h="132991">
                  <a:moveTo>
                    <a:pt x="65709" y="0"/>
                  </a:moveTo>
                  <a:cubicBezTo>
                    <a:pt x="86122" y="0"/>
                    <a:pt x="102063" y="5891"/>
                    <a:pt x="113533" y="17673"/>
                  </a:cubicBezTo>
                  <a:cubicBezTo>
                    <a:pt x="125003" y="29455"/>
                    <a:pt x="130738" y="45715"/>
                    <a:pt x="130738" y="66451"/>
                  </a:cubicBezTo>
                  <a:cubicBezTo>
                    <a:pt x="130738" y="87129"/>
                    <a:pt x="124987" y="103389"/>
                    <a:pt x="113485" y="115230"/>
                  </a:cubicBezTo>
                  <a:cubicBezTo>
                    <a:pt x="101982" y="127071"/>
                    <a:pt x="85992" y="132991"/>
                    <a:pt x="65515" y="132991"/>
                  </a:cubicBezTo>
                  <a:cubicBezTo>
                    <a:pt x="44584" y="132991"/>
                    <a:pt x="28432" y="127174"/>
                    <a:pt x="17059" y="115539"/>
                  </a:cubicBezTo>
                  <a:cubicBezTo>
                    <a:pt x="5686" y="103904"/>
                    <a:pt x="0" y="87483"/>
                    <a:pt x="0" y="66275"/>
                  </a:cubicBezTo>
                  <a:cubicBezTo>
                    <a:pt x="0" y="45243"/>
                    <a:pt x="5702" y="28940"/>
                    <a:pt x="17107" y="17364"/>
                  </a:cubicBezTo>
                  <a:cubicBezTo>
                    <a:pt x="28513" y="5788"/>
                    <a:pt x="44713" y="0"/>
                    <a:pt x="65709" y="0"/>
                  </a:cubicBezTo>
                  <a:close/>
                  <a:moveTo>
                    <a:pt x="65709" y="13431"/>
                  </a:moveTo>
                  <a:cubicBezTo>
                    <a:pt x="49962" y="13431"/>
                    <a:pt x="37990" y="17953"/>
                    <a:pt x="29793" y="26996"/>
                  </a:cubicBezTo>
                  <a:cubicBezTo>
                    <a:pt x="21595" y="36038"/>
                    <a:pt x="17496" y="49190"/>
                    <a:pt x="17496" y="66451"/>
                  </a:cubicBezTo>
                  <a:cubicBezTo>
                    <a:pt x="17496" y="83948"/>
                    <a:pt x="21595" y="97218"/>
                    <a:pt x="29793" y="106261"/>
                  </a:cubicBezTo>
                  <a:cubicBezTo>
                    <a:pt x="37990" y="115303"/>
                    <a:pt x="49897" y="119825"/>
                    <a:pt x="65515" y="119825"/>
                  </a:cubicBezTo>
                  <a:cubicBezTo>
                    <a:pt x="81262" y="119825"/>
                    <a:pt x="93153" y="115318"/>
                    <a:pt x="101188" y="106305"/>
                  </a:cubicBezTo>
                  <a:cubicBezTo>
                    <a:pt x="109224" y="97291"/>
                    <a:pt x="113242" y="84007"/>
                    <a:pt x="113242" y="66451"/>
                  </a:cubicBezTo>
                  <a:cubicBezTo>
                    <a:pt x="113242" y="49073"/>
                    <a:pt x="109240" y="35891"/>
                    <a:pt x="101237" y="26907"/>
                  </a:cubicBezTo>
                  <a:cubicBezTo>
                    <a:pt x="93234" y="17923"/>
                    <a:pt x="81391" y="13431"/>
                    <a:pt x="65709" y="13431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2" name="TextBox 71"/>
            <p:cNvSpPr txBox="1">
              <a:spLocks/>
            </p:cNvSpPr>
            <p:nvPr/>
          </p:nvSpPr>
          <p:spPr>
            <a:xfrm>
              <a:off x="11068225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60620"/>
                  </a:lnTo>
                  <a:lnTo>
                    <a:pt x="75430" y="60620"/>
                  </a:lnTo>
                  <a:lnTo>
                    <a:pt x="75430" y="73963"/>
                  </a:lnTo>
                  <a:lnTo>
                    <a:pt x="16525" y="73963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3" name="TextBox 72"/>
            <p:cNvSpPr txBox="1">
              <a:spLocks/>
            </p:cNvSpPr>
            <p:nvPr/>
          </p:nvSpPr>
          <p:spPr>
            <a:xfrm>
              <a:off x="11121455" y="850549"/>
              <a:ext cx="49071" cy="59507"/>
            </a:xfrm>
            <a:custGeom>
              <a:avLst/>
              <a:gdLst/>
              <a:ahLst/>
              <a:cxnLst/>
              <a:rect l="l" t="t" r="r" b="b"/>
              <a:pathLst>
                <a:path w="106535" h="129192">
                  <a:moveTo>
                    <a:pt x="0" y="0"/>
                  </a:moveTo>
                  <a:lnTo>
                    <a:pt x="106535" y="0"/>
                  </a:lnTo>
                  <a:lnTo>
                    <a:pt x="106535" y="13343"/>
                  </a:lnTo>
                  <a:lnTo>
                    <a:pt x="61530" y="13343"/>
                  </a:lnTo>
                  <a:lnTo>
                    <a:pt x="61530" y="129192"/>
                  </a:lnTo>
                  <a:lnTo>
                    <a:pt x="45005" y="129192"/>
                  </a:lnTo>
                  <a:lnTo>
                    <a:pt x="45005" y="13343"/>
                  </a:lnTo>
                  <a:lnTo>
                    <a:pt x="0" y="1334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4" name="TextBox 73"/>
            <p:cNvSpPr txBox="1">
              <a:spLocks/>
            </p:cNvSpPr>
            <p:nvPr/>
          </p:nvSpPr>
          <p:spPr>
            <a:xfrm>
              <a:off x="11177909" y="850549"/>
              <a:ext cx="49698" cy="59507"/>
            </a:xfrm>
            <a:custGeom>
              <a:avLst/>
              <a:gdLst/>
              <a:ahLst/>
              <a:cxnLst/>
              <a:rect l="l" t="t" r="r" b="b"/>
              <a:pathLst>
                <a:path w="107896" h="129192">
                  <a:moveTo>
                    <a:pt x="0" y="0"/>
                  </a:moveTo>
                  <a:lnTo>
                    <a:pt x="16525" y="0"/>
                  </a:lnTo>
                  <a:lnTo>
                    <a:pt x="16525" y="54964"/>
                  </a:lnTo>
                  <a:lnTo>
                    <a:pt x="91371" y="54964"/>
                  </a:lnTo>
                  <a:lnTo>
                    <a:pt x="91371" y="0"/>
                  </a:lnTo>
                  <a:lnTo>
                    <a:pt x="107896" y="0"/>
                  </a:lnTo>
                  <a:lnTo>
                    <a:pt x="107896" y="129192"/>
                  </a:lnTo>
                  <a:lnTo>
                    <a:pt x="91371" y="129192"/>
                  </a:lnTo>
                  <a:lnTo>
                    <a:pt x="91371" y="68396"/>
                  </a:lnTo>
                  <a:lnTo>
                    <a:pt x="16525" y="68396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5" name="TextBox 74"/>
            <p:cNvSpPr txBox="1">
              <a:spLocks/>
            </p:cNvSpPr>
            <p:nvPr/>
          </p:nvSpPr>
          <p:spPr>
            <a:xfrm>
              <a:off x="11239332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54964"/>
                  </a:lnTo>
                  <a:lnTo>
                    <a:pt x="75430" y="54964"/>
                  </a:lnTo>
                  <a:lnTo>
                    <a:pt x="75430" y="68219"/>
                  </a:lnTo>
                  <a:lnTo>
                    <a:pt x="16525" y="68219"/>
                  </a:lnTo>
                  <a:lnTo>
                    <a:pt x="16525" y="115760"/>
                  </a:lnTo>
                  <a:lnTo>
                    <a:pt x="79221" y="115760"/>
                  </a:lnTo>
                  <a:lnTo>
                    <a:pt x="79221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62" name="Freeform 9"/>
          <p:cNvSpPr>
            <a:spLocks noEditPoints="1"/>
          </p:cNvSpPr>
          <p:nvPr/>
        </p:nvSpPr>
        <p:spPr bwMode="auto">
          <a:xfrm>
            <a:off x="10579888" y="371026"/>
            <a:ext cx="1417689" cy="783522"/>
          </a:xfrm>
          <a:custGeom>
            <a:avLst/>
            <a:gdLst>
              <a:gd name="T0" fmla="*/ 279 w 326"/>
              <a:gd name="T1" fmla="*/ 180 h 180"/>
              <a:gd name="T2" fmla="*/ 271 w 326"/>
              <a:gd name="T3" fmla="*/ 179 h 180"/>
              <a:gd name="T4" fmla="*/ 45 w 326"/>
              <a:gd name="T5" fmla="*/ 179 h 180"/>
              <a:gd name="T6" fmla="*/ 6 w 326"/>
              <a:gd name="T7" fmla="*/ 153 h 180"/>
              <a:gd name="T8" fmla="*/ 0 w 326"/>
              <a:gd name="T9" fmla="*/ 129 h 180"/>
              <a:gd name="T10" fmla="*/ 32 w 326"/>
              <a:gd name="T11" fmla="*/ 82 h 180"/>
              <a:gd name="T12" fmla="*/ 30 w 326"/>
              <a:gd name="T13" fmla="*/ 70 h 180"/>
              <a:gd name="T14" fmla="*/ 100 w 326"/>
              <a:gd name="T15" fmla="*/ 0 h 180"/>
              <a:gd name="T16" fmla="*/ 154 w 326"/>
              <a:gd name="T17" fmla="*/ 26 h 180"/>
              <a:gd name="T18" fmla="*/ 187 w 326"/>
              <a:gd name="T19" fmla="*/ 16 h 180"/>
              <a:gd name="T20" fmla="*/ 242 w 326"/>
              <a:gd name="T21" fmla="*/ 55 h 180"/>
              <a:gd name="T22" fmla="*/ 245 w 326"/>
              <a:gd name="T23" fmla="*/ 54 h 180"/>
              <a:gd name="T24" fmla="*/ 280 w 326"/>
              <a:gd name="T25" fmla="*/ 85 h 180"/>
              <a:gd name="T26" fmla="*/ 326 w 326"/>
              <a:gd name="T27" fmla="*/ 132 h 180"/>
              <a:gd name="T28" fmla="*/ 279 w 326"/>
              <a:gd name="T29" fmla="*/ 180 h 180"/>
              <a:gd name="T30" fmla="*/ 100 w 326"/>
              <a:gd name="T31" fmla="*/ 4 h 180"/>
              <a:gd name="T32" fmla="*/ 34 w 326"/>
              <a:gd name="T33" fmla="*/ 70 h 180"/>
              <a:gd name="T34" fmla="*/ 36 w 326"/>
              <a:gd name="T35" fmla="*/ 83 h 180"/>
              <a:gd name="T36" fmla="*/ 36 w 326"/>
              <a:gd name="T37" fmla="*/ 85 h 180"/>
              <a:gd name="T38" fmla="*/ 35 w 326"/>
              <a:gd name="T39" fmla="*/ 86 h 180"/>
              <a:gd name="T40" fmla="*/ 4 w 326"/>
              <a:gd name="T41" fmla="*/ 129 h 180"/>
              <a:gd name="T42" fmla="*/ 10 w 326"/>
              <a:gd name="T43" fmla="*/ 151 h 180"/>
              <a:gd name="T44" fmla="*/ 10 w 326"/>
              <a:gd name="T45" fmla="*/ 151 h 180"/>
              <a:gd name="T46" fmla="*/ 45 w 326"/>
              <a:gd name="T47" fmla="*/ 175 h 180"/>
              <a:gd name="T48" fmla="*/ 271 w 326"/>
              <a:gd name="T49" fmla="*/ 175 h 180"/>
              <a:gd name="T50" fmla="*/ 272 w 326"/>
              <a:gd name="T51" fmla="*/ 175 h 180"/>
              <a:gd name="T52" fmla="*/ 279 w 326"/>
              <a:gd name="T53" fmla="*/ 176 h 180"/>
              <a:gd name="T54" fmla="*/ 322 w 326"/>
              <a:gd name="T55" fmla="*/ 132 h 180"/>
              <a:gd name="T56" fmla="*/ 279 w 326"/>
              <a:gd name="T57" fmla="*/ 89 h 180"/>
              <a:gd name="T58" fmla="*/ 278 w 326"/>
              <a:gd name="T59" fmla="*/ 89 h 180"/>
              <a:gd name="T60" fmla="*/ 276 w 326"/>
              <a:gd name="T61" fmla="*/ 89 h 180"/>
              <a:gd name="T62" fmla="*/ 276 w 326"/>
              <a:gd name="T63" fmla="*/ 87 h 180"/>
              <a:gd name="T64" fmla="*/ 245 w 326"/>
              <a:gd name="T65" fmla="*/ 58 h 180"/>
              <a:gd name="T66" fmla="*/ 240 w 326"/>
              <a:gd name="T67" fmla="*/ 59 h 180"/>
              <a:gd name="T68" fmla="*/ 239 w 326"/>
              <a:gd name="T69" fmla="*/ 59 h 180"/>
              <a:gd name="T70" fmla="*/ 238 w 326"/>
              <a:gd name="T71" fmla="*/ 57 h 180"/>
              <a:gd name="T72" fmla="*/ 187 w 326"/>
              <a:gd name="T73" fmla="*/ 20 h 180"/>
              <a:gd name="T74" fmla="*/ 155 w 326"/>
              <a:gd name="T75" fmla="*/ 30 h 180"/>
              <a:gd name="T76" fmla="*/ 153 w 326"/>
              <a:gd name="T77" fmla="*/ 31 h 180"/>
              <a:gd name="T78" fmla="*/ 152 w 326"/>
              <a:gd name="T79" fmla="*/ 30 h 180"/>
              <a:gd name="T80" fmla="*/ 100 w 326"/>
              <a:gd name="T81" fmla="*/ 4 h 1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326" h="180">
                <a:moveTo>
                  <a:pt x="279" y="180"/>
                </a:moveTo>
                <a:cubicBezTo>
                  <a:pt x="276" y="180"/>
                  <a:pt x="274" y="179"/>
                  <a:pt x="271" y="179"/>
                </a:cubicBezTo>
                <a:cubicBezTo>
                  <a:pt x="45" y="179"/>
                  <a:pt x="45" y="179"/>
                  <a:pt x="45" y="179"/>
                </a:cubicBezTo>
                <a:cubicBezTo>
                  <a:pt x="28" y="179"/>
                  <a:pt x="13" y="169"/>
                  <a:pt x="6" y="153"/>
                </a:cubicBezTo>
                <a:cubicBezTo>
                  <a:pt x="2" y="146"/>
                  <a:pt x="0" y="137"/>
                  <a:pt x="0" y="129"/>
                </a:cubicBezTo>
                <a:cubicBezTo>
                  <a:pt x="0" y="109"/>
                  <a:pt x="13" y="90"/>
                  <a:pt x="32" y="82"/>
                </a:cubicBezTo>
                <a:cubicBezTo>
                  <a:pt x="31" y="78"/>
                  <a:pt x="30" y="74"/>
                  <a:pt x="30" y="70"/>
                </a:cubicBezTo>
                <a:cubicBezTo>
                  <a:pt x="30" y="32"/>
                  <a:pt x="62" y="0"/>
                  <a:pt x="100" y="0"/>
                </a:cubicBezTo>
                <a:cubicBezTo>
                  <a:pt x="121" y="0"/>
                  <a:pt x="141" y="10"/>
                  <a:pt x="154" y="26"/>
                </a:cubicBezTo>
                <a:cubicBezTo>
                  <a:pt x="164" y="19"/>
                  <a:pt x="175" y="16"/>
                  <a:pt x="187" y="16"/>
                </a:cubicBezTo>
                <a:cubicBezTo>
                  <a:pt x="212" y="16"/>
                  <a:pt x="233" y="31"/>
                  <a:pt x="242" y="55"/>
                </a:cubicBezTo>
                <a:cubicBezTo>
                  <a:pt x="243" y="54"/>
                  <a:pt x="244" y="54"/>
                  <a:pt x="245" y="54"/>
                </a:cubicBezTo>
                <a:cubicBezTo>
                  <a:pt x="263" y="54"/>
                  <a:pt x="278" y="68"/>
                  <a:pt x="280" y="85"/>
                </a:cubicBezTo>
                <a:cubicBezTo>
                  <a:pt x="305" y="86"/>
                  <a:pt x="326" y="107"/>
                  <a:pt x="326" y="132"/>
                </a:cubicBezTo>
                <a:cubicBezTo>
                  <a:pt x="326" y="158"/>
                  <a:pt x="305" y="180"/>
                  <a:pt x="279" y="180"/>
                </a:cubicBezTo>
                <a:close/>
                <a:moveTo>
                  <a:pt x="100" y="4"/>
                </a:moveTo>
                <a:cubicBezTo>
                  <a:pt x="64" y="4"/>
                  <a:pt x="34" y="34"/>
                  <a:pt x="34" y="70"/>
                </a:cubicBezTo>
                <a:cubicBezTo>
                  <a:pt x="34" y="75"/>
                  <a:pt x="35" y="79"/>
                  <a:pt x="36" y="83"/>
                </a:cubicBezTo>
                <a:cubicBezTo>
                  <a:pt x="36" y="85"/>
                  <a:pt x="36" y="85"/>
                  <a:pt x="36" y="85"/>
                </a:cubicBezTo>
                <a:cubicBezTo>
                  <a:pt x="35" y="86"/>
                  <a:pt x="35" y="86"/>
                  <a:pt x="35" y="86"/>
                </a:cubicBezTo>
                <a:cubicBezTo>
                  <a:pt x="16" y="92"/>
                  <a:pt x="4" y="110"/>
                  <a:pt x="4" y="129"/>
                </a:cubicBezTo>
                <a:cubicBezTo>
                  <a:pt x="4" y="137"/>
                  <a:pt x="6" y="144"/>
                  <a:pt x="10" y="151"/>
                </a:cubicBezTo>
                <a:cubicBezTo>
                  <a:pt x="10" y="151"/>
                  <a:pt x="10" y="151"/>
                  <a:pt x="10" y="151"/>
                </a:cubicBezTo>
                <a:cubicBezTo>
                  <a:pt x="16" y="166"/>
                  <a:pt x="30" y="175"/>
                  <a:pt x="45" y="175"/>
                </a:cubicBezTo>
                <a:cubicBezTo>
                  <a:pt x="271" y="175"/>
                  <a:pt x="271" y="175"/>
                  <a:pt x="271" y="175"/>
                </a:cubicBezTo>
                <a:cubicBezTo>
                  <a:pt x="272" y="175"/>
                  <a:pt x="272" y="175"/>
                  <a:pt x="272" y="175"/>
                </a:cubicBezTo>
                <a:cubicBezTo>
                  <a:pt x="274" y="175"/>
                  <a:pt x="276" y="176"/>
                  <a:pt x="279" y="176"/>
                </a:cubicBezTo>
                <a:cubicBezTo>
                  <a:pt x="303" y="176"/>
                  <a:pt x="322" y="156"/>
                  <a:pt x="322" y="132"/>
                </a:cubicBezTo>
                <a:cubicBezTo>
                  <a:pt x="322" y="109"/>
                  <a:pt x="303" y="89"/>
                  <a:pt x="279" y="89"/>
                </a:cubicBezTo>
                <a:cubicBezTo>
                  <a:pt x="279" y="89"/>
                  <a:pt x="278" y="89"/>
                  <a:pt x="278" y="89"/>
                </a:cubicBezTo>
                <a:cubicBezTo>
                  <a:pt x="276" y="89"/>
                  <a:pt x="276" y="89"/>
                  <a:pt x="276" y="89"/>
                </a:cubicBezTo>
                <a:cubicBezTo>
                  <a:pt x="276" y="87"/>
                  <a:pt x="276" y="87"/>
                  <a:pt x="276" y="87"/>
                </a:cubicBezTo>
                <a:cubicBezTo>
                  <a:pt x="275" y="71"/>
                  <a:pt x="261" y="58"/>
                  <a:pt x="245" y="58"/>
                </a:cubicBezTo>
                <a:cubicBezTo>
                  <a:pt x="243" y="58"/>
                  <a:pt x="242" y="59"/>
                  <a:pt x="240" y="59"/>
                </a:cubicBezTo>
                <a:cubicBezTo>
                  <a:pt x="239" y="59"/>
                  <a:pt x="239" y="59"/>
                  <a:pt x="239" y="59"/>
                </a:cubicBezTo>
                <a:cubicBezTo>
                  <a:pt x="238" y="57"/>
                  <a:pt x="238" y="57"/>
                  <a:pt x="238" y="57"/>
                </a:cubicBezTo>
                <a:cubicBezTo>
                  <a:pt x="231" y="35"/>
                  <a:pt x="210" y="20"/>
                  <a:pt x="187" y="20"/>
                </a:cubicBezTo>
                <a:cubicBezTo>
                  <a:pt x="175" y="20"/>
                  <a:pt x="164" y="23"/>
                  <a:pt x="155" y="30"/>
                </a:cubicBezTo>
                <a:cubicBezTo>
                  <a:pt x="153" y="31"/>
                  <a:pt x="153" y="31"/>
                  <a:pt x="153" y="31"/>
                </a:cubicBezTo>
                <a:cubicBezTo>
                  <a:pt x="152" y="30"/>
                  <a:pt x="152" y="30"/>
                  <a:pt x="152" y="30"/>
                </a:cubicBezTo>
                <a:cubicBezTo>
                  <a:pt x="139" y="14"/>
                  <a:pt x="121" y="4"/>
                  <a:pt x="100" y="4"/>
                </a:cubicBezTo>
                <a:close/>
              </a:path>
            </a:pathLst>
          </a:custGeom>
          <a:solidFill>
            <a:srgbClr val="34697F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3" name="Rectangle 22"/>
          <p:cNvSpPr/>
          <p:nvPr userDrawn="1"/>
        </p:nvSpPr>
        <p:spPr>
          <a:xfrm>
            <a:off x="3291840" y="1554479"/>
            <a:ext cx="91440" cy="5303521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4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3838902" y="2011681"/>
            <a:ext cx="7891135" cy="4174372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Body text</a:t>
            </a: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nal Slide - Photo Left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3752807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90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Picture Placeholder 5"/>
          <p:cNvSpPr>
            <a:spLocks noGrp="1"/>
          </p:cNvSpPr>
          <p:nvPr>
            <p:ph type="pic" sz="quarter" idx="13" hasCustomPrompt="1"/>
          </p:nvPr>
        </p:nvSpPr>
        <p:spPr>
          <a:xfrm>
            <a:off x="-2" y="1554481"/>
            <a:ext cx="3840480" cy="5303519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algn="ctr">
              <a:defRPr sz="320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55" name="Rectangle 54"/>
          <p:cNvSpPr/>
          <p:nvPr/>
        </p:nvSpPr>
        <p:spPr>
          <a:xfrm>
            <a:off x="0" y="1"/>
            <a:ext cx="12191996" cy="1554480"/>
          </a:xfrm>
          <a:prstGeom prst="rect">
            <a:avLst/>
          </a:prstGeom>
          <a:solidFill>
            <a:srgbClr val="064E69"/>
          </a:solidFill>
        </p:spPr>
        <p:txBody>
          <a:bodyPr wrap="square" lIns="548640" tIns="0" rIns="91440" bIns="0" anchor="ctr">
            <a:noAutofit/>
          </a:bodyPr>
          <a:lstStyle/>
          <a:p>
            <a:endParaRPr lang="en-US" sz="4000" b="1" dirty="0">
              <a:solidFill>
                <a:schemeClr val="bg1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6" name="Rectangle 55"/>
          <p:cNvSpPr/>
          <p:nvPr/>
        </p:nvSpPr>
        <p:spPr>
          <a:xfrm>
            <a:off x="-1" y="1448246"/>
            <a:ext cx="12192127" cy="106731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7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96379"/>
            <a:ext cx="9688623" cy="476805"/>
          </a:xfrm>
          <a:prstGeom prst="rect">
            <a:avLst/>
          </a:prstGeom>
        </p:spPr>
        <p:txBody>
          <a:bodyPr tIns="0" bIns="0" anchor="t" anchorCtr="0"/>
          <a:lstStyle>
            <a:lvl1pPr algn="l">
              <a:defRPr sz="3000" b="1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58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860151"/>
            <a:ext cx="9688622" cy="423094"/>
          </a:xfrm>
          <a:prstGeom prst="rect">
            <a:avLst/>
          </a:prstGeom>
        </p:spPr>
        <p:txBody>
          <a:bodyPr anchor="ctr"/>
          <a:lstStyle>
            <a:lvl1pPr algn="l">
              <a:lnSpc>
                <a:spcPct val="90000"/>
              </a:lnSpc>
              <a:spcBef>
                <a:spcPts val="0"/>
              </a:spcBef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cxnSp>
        <p:nvCxnSpPr>
          <p:cNvPr id="59" name="Straight Connector 58"/>
          <p:cNvCxnSpPr/>
          <p:nvPr/>
        </p:nvCxnSpPr>
        <p:spPr>
          <a:xfrm>
            <a:off x="10363874" y="222724"/>
            <a:ext cx="0" cy="1032988"/>
          </a:xfrm>
          <a:prstGeom prst="line">
            <a:avLst/>
          </a:prstGeom>
          <a:ln w="15875" cmpd="sng">
            <a:solidFill>
              <a:schemeClr val="accent2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TextBox 62"/>
          <p:cNvSpPr txBox="1">
            <a:spLocks/>
          </p:cNvSpPr>
          <p:nvPr/>
        </p:nvSpPr>
        <p:spPr>
          <a:xfrm>
            <a:off x="11008872" y="633221"/>
            <a:ext cx="224212" cy="176024"/>
          </a:xfrm>
          <a:custGeom>
            <a:avLst/>
            <a:gdLst/>
            <a:ahLst/>
            <a:cxnLst/>
            <a:rect l="l" t="t" r="r" b="b"/>
            <a:pathLst>
              <a:path w="486642" h="382152">
                <a:moveTo>
                  <a:pt x="150943" y="0"/>
                </a:moveTo>
                <a:cubicBezTo>
                  <a:pt x="191582" y="0"/>
                  <a:pt x="224490" y="12368"/>
                  <a:pt x="232082" y="39810"/>
                </a:cubicBezTo>
                <a:lnTo>
                  <a:pt x="232262" y="41192"/>
                </a:lnTo>
                <a:lnTo>
                  <a:pt x="244394" y="27828"/>
                </a:lnTo>
                <a:cubicBezTo>
                  <a:pt x="265912" y="9086"/>
                  <a:pt x="296328" y="0"/>
                  <a:pt x="331918" y="0"/>
                </a:cubicBezTo>
                <a:cubicBezTo>
                  <a:pt x="355140" y="0"/>
                  <a:pt x="375838" y="4038"/>
                  <a:pt x="390730" y="12620"/>
                </a:cubicBezTo>
                <a:lnTo>
                  <a:pt x="399550" y="19037"/>
                </a:lnTo>
                <a:lnTo>
                  <a:pt x="415123" y="9213"/>
                </a:lnTo>
                <a:cubicBezTo>
                  <a:pt x="421204" y="6846"/>
                  <a:pt x="427956" y="5553"/>
                  <a:pt x="435150" y="5553"/>
                </a:cubicBezTo>
                <a:cubicBezTo>
                  <a:pt x="464430" y="5553"/>
                  <a:pt x="486642" y="26250"/>
                  <a:pt x="486642" y="53511"/>
                </a:cubicBezTo>
                <a:cubicBezTo>
                  <a:pt x="486642" y="80772"/>
                  <a:pt x="464430" y="101974"/>
                  <a:pt x="435150" y="101974"/>
                </a:cubicBezTo>
                <a:cubicBezTo>
                  <a:pt x="420763" y="101974"/>
                  <a:pt x="408142" y="96674"/>
                  <a:pt x="399118" y="87965"/>
                </a:cubicBezTo>
                <a:lnTo>
                  <a:pt x="397141" y="85099"/>
                </a:lnTo>
                <a:lnTo>
                  <a:pt x="387023" y="90979"/>
                </a:lnTo>
                <a:cubicBezTo>
                  <a:pt x="381675" y="92887"/>
                  <a:pt x="375838" y="93897"/>
                  <a:pt x="369780" y="93897"/>
                </a:cubicBezTo>
                <a:cubicBezTo>
                  <a:pt x="355140" y="93897"/>
                  <a:pt x="342015" y="89354"/>
                  <a:pt x="335452" y="81781"/>
                </a:cubicBezTo>
                <a:cubicBezTo>
                  <a:pt x="350092" y="78247"/>
                  <a:pt x="359179" y="66132"/>
                  <a:pt x="359179" y="42910"/>
                </a:cubicBezTo>
                <a:cubicBezTo>
                  <a:pt x="359179" y="22717"/>
                  <a:pt x="350597" y="8077"/>
                  <a:pt x="331918" y="8077"/>
                </a:cubicBezTo>
                <a:cubicBezTo>
                  <a:pt x="308696" y="8077"/>
                  <a:pt x="300619" y="29784"/>
                  <a:pt x="300619" y="58054"/>
                </a:cubicBezTo>
                <a:lnTo>
                  <a:pt x="300619" y="132264"/>
                </a:lnTo>
                <a:lnTo>
                  <a:pt x="363217" y="132264"/>
                </a:lnTo>
                <a:lnTo>
                  <a:pt x="360693" y="144884"/>
                </a:lnTo>
                <a:lnTo>
                  <a:pt x="300619" y="144884"/>
                </a:lnTo>
                <a:lnTo>
                  <a:pt x="300619" y="327126"/>
                </a:lnTo>
                <a:cubicBezTo>
                  <a:pt x="300619" y="360445"/>
                  <a:pt x="312230" y="369027"/>
                  <a:pt x="339490" y="381142"/>
                </a:cubicBezTo>
                <a:lnTo>
                  <a:pt x="339490" y="382152"/>
                </a:lnTo>
                <a:lnTo>
                  <a:pt x="186529" y="382152"/>
                </a:lnTo>
                <a:lnTo>
                  <a:pt x="186529" y="381142"/>
                </a:lnTo>
                <a:cubicBezTo>
                  <a:pt x="208741" y="367007"/>
                  <a:pt x="210255" y="360445"/>
                  <a:pt x="210255" y="327126"/>
                </a:cubicBezTo>
                <a:lnTo>
                  <a:pt x="210255" y="144884"/>
                </a:lnTo>
                <a:lnTo>
                  <a:pt x="180976" y="144884"/>
                </a:lnTo>
                <a:lnTo>
                  <a:pt x="180976" y="139331"/>
                </a:lnTo>
                <a:lnTo>
                  <a:pt x="210255" y="128225"/>
                </a:lnTo>
                <a:lnTo>
                  <a:pt x="210255" y="113585"/>
                </a:lnTo>
                <a:lnTo>
                  <a:pt x="212504" y="87227"/>
                </a:lnTo>
                <a:lnTo>
                  <a:pt x="206048" y="90979"/>
                </a:lnTo>
                <a:cubicBezTo>
                  <a:pt x="200700" y="92887"/>
                  <a:pt x="194863" y="93897"/>
                  <a:pt x="188805" y="93897"/>
                </a:cubicBezTo>
                <a:cubicBezTo>
                  <a:pt x="174165" y="93897"/>
                  <a:pt x="161040" y="89354"/>
                  <a:pt x="154477" y="81781"/>
                </a:cubicBezTo>
                <a:cubicBezTo>
                  <a:pt x="169117" y="78247"/>
                  <a:pt x="178204" y="66132"/>
                  <a:pt x="178204" y="42910"/>
                </a:cubicBezTo>
                <a:cubicBezTo>
                  <a:pt x="178204" y="22717"/>
                  <a:pt x="169622" y="8077"/>
                  <a:pt x="150943" y="8077"/>
                </a:cubicBezTo>
                <a:cubicBezTo>
                  <a:pt x="127721" y="8077"/>
                  <a:pt x="119644" y="29784"/>
                  <a:pt x="119644" y="58054"/>
                </a:cubicBezTo>
                <a:lnTo>
                  <a:pt x="119644" y="132264"/>
                </a:lnTo>
                <a:lnTo>
                  <a:pt x="182242" y="132264"/>
                </a:lnTo>
                <a:lnTo>
                  <a:pt x="179718" y="144884"/>
                </a:lnTo>
                <a:lnTo>
                  <a:pt x="119644" y="144884"/>
                </a:lnTo>
                <a:lnTo>
                  <a:pt x="119644" y="327126"/>
                </a:lnTo>
                <a:cubicBezTo>
                  <a:pt x="119644" y="360445"/>
                  <a:pt x="131255" y="369027"/>
                  <a:pt x="158516" y="381142"/>
                </a:cubicBezTo>
                <a:lnTo>
                  <a:pt x="158516" y="382152"/>
                </a:lnTo>
                <a:lnTo>
                  <a:pt x="5554" y="382152"/>
                </a:lnTo>
                <a:lnTo>
                  <a:pt x="5554" y="381142"/>
                </a:lnTo>
                <a:cubicBezTo>
                  <a:pt x="27766" y="367007"/>
                  <a:pt x="29280" y="360445"/>
                  <a:pt x="29280" y="327126"/>
                </a:cubicBezTo>
                <a:lnTo>
                  <a:pt x="29280" y="144884"/>
                </a:lnTo>
                <a:lnTo>
                  <a:pt x="0" y="144884"/>
                </a:lnTo>
                <a:lnTo>
                  <a:pt x="0" y="139331"/>
                </a:lnTo>
                <a:lnTo>
                  <a:pt x="29280" y="128225"/>
                </a:lnTo>
                <a:lnTo>
                  <a:pt x="29280" y="113585"/>
                </a:lnTo>
                <a:cubicBezTo>
                  <a:pt x="29280" y="36347"/>
                  <a:pt x="79763" y="0"/>
                  <a:pt x="150943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4" name="TextBox 63"/>
          <p:cNvSpPr txBox="1">
            <a:spLocks/>
          </p:cNvSpPr>
          <p:nvPr/>
        </p:nvSpPr>
        <p:spPr>
          <a:xfrm>
            <a:off x="10828278" y="644150"/>
            <a:ext cx="167232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5" name="TextBox 64"/>
          <p:cNvSpPr txBox="1">
            <a:spLocks/>
          </p:cNvSpPr>
          <p:nvPr/>
        </p:nvSpPr>
        <p:spPr>
          <a:xfrm>
            <a:off x="11252333" y="691818"/>
            <a:ext cx="113038" cy="119752"/>
          </a:xfrm>
          <a:custGeom>
            <a:avLst/>
            <a:gdLst/>
            <a:ahLst/>
            <a:cxnLst/>
            <a:rect l="l" t="t" r="r" b="b"/>
            <a:pathLst>
              <a:path w="245345" h="259984">
                <a:moveTo>
                  <a:pt x="144885" y="0"/>
                </a:moveTo>
                <a:cubicBezTo>
                  <a:pt x="199406" y="0"/>
                  <a:pt x="240297" y="23726"/>
                  <a:pt x="240297" y="65122"/>
                </a:cubicBezTo>
                <a:cubicBezTo>
                  <a:pt x="240297" y="95411"/>
                  <a:pt x="217075" y="111061"/>
                  <a:pt x="192843" y="111061"/>
                </a:cubicBezTo>
                <a:cubicBezTo>
                  <a:pt x="166087" y="111061"/>
                  <a:pt x="150438" y="96421"/>
                  <a:pt x="148923" y="81781"/>
                </a:cubicBezTo>
                <a:cubicBezTo>
                  <a:pt x="151952" y="82791"/>
                  <a:pt x="155486" y="83296"/>
                  <a:pt x="158010" y="83296"/>
                </a:cubicBezTo>
                <a:cubicBezTo>
                  <a:pt x="176689" y="83296"/>
                  <a:pt x="184261" y="67646"/>
                  <a:pt x="184261" y="48463"/>
                </a:cubicBezTo>
                <a:cubicBezTo>
                  <a:pt x="184261" y="24231"/>
                  <a:pt x="171136" y="8582"/>
                  <a:pt x="145894" y="8582"/>
                </a:cubicBezTo>
                <a:cubicBezTo>
                  <a:pt x="110557" y="8582"/>
                  <a:pt x="93897" y="54016"/>
                  <a:pt x="93897" y="112575"/>
                </a:cubicBezTo>
                <a:cubicBezTo>
                  <a:pt x="93897" y="181737"/>
                  <a:pt x="124692" y="218589"/>
                  <a:pt x="171640" y="218589"/>
                </a:cubicBezTo>
                <a:cubicBezTo>
                  <a:pt x="200415" y="218589"/>
                  <a:pt x="226666" y="204958"/>
                  <a:pt x="242316" y="173659"/>
                </a:cubicBezTo>
                <a:lnTo>
                  <a:pt x="245345" y="175174"/>
                </a:lnTo>
                <a:cubicBezTo>
                  <a:pt x="231210" y="229190"/>
                  <a:pt x="185775" y="259984"/>
                  <a:pt x="129740" y="259984"/>
                </a:cubicBezTo>
                <a:cubicBezTo>
                  <a:pt x="60074" y="259984"/>
                  <a:pt x="0" y="213036"/>
                  <a:pt x="0" y="134788"/>
                </a:cubicBezTo>
                <a:cubicBezTo>
                  <a:pt x="0" y="49977"/>
                  <a:pt x="63608" y="0"/>
                  <a:pt x="144885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6" name="TextBox 65"/>
          <p:cNvSpPr txBox="1">
            <a:spLocks/>
          </p:cNvSpPr>
          <p:nvPr/>
        </p:nvSpPr>
        <p:spPr>
          <a:xfrm>
            <a:off x="11375209" y="691818"/>
            <a:ext cx="116062" cy="119752"/>
          </a:xfrm>
          <a:custGeom>
            <a:avLst/>
            <a:gdLst/>
            <a:ahLst/>
            <a:cxnLst/>
            <a:rect l="l" t="t" r="r" b="b"/>
            <a:pathLst>
              <a:path w="251908" h="259984">
                <a:moveTo>
                  <a:pt x="132264" y="0"/>
                </a:moveTo>
                <a:cubicBezTo>
                  <a:pt x="213541" y="0"/>
                  <a:pt x="251908" y="51996"/>
                  <a:pt x="251908" y="118633"/>
                </a:cubicBezTo>
                <a:lnTo>
                  <a:pt x="91373" y="118633"/>
                </a:lnTo>
                <a:cubicBezTo>
                  <a:pt x="91373" y="181232"/>
                  <a:pt x="124187" y="218589"/>
                  <a:pt x="172650" y="218589"/>
                </a:cubicBezTo>
                <a:cubicBezTo>
                  <a:pt x="203444" y="218589"/>
                  <a:pt x="230200" y="204958"/>
                  <a:pt x="245850" y="173659"/>
                </a:cubicBezTo>
                <a:lnTo>
                  <a:pt x="249383" y="175174"/>
                </a:lnTo>
                <a:cubicBezTo>
                  <a:pt x="234744" y="229190"/>
                  <a:pt x="189309" y="259984"/>
                  <a:pt x="131759" y="259984"/>
                </a:cubicBezTo>
                <a:cubicBezTo>
                  <a:pt x="59569" y="259984"/>
                  <a:pt x="0" y="212531"/>
                  <a:pt x="0" y="130244"/>
                </a:cubicBezTo>
                <a:cubicBezTo>
                  <a:pt x="0" y="50987"/>
                  <a:pt x="60074" y="0"/>
                  <a:pt x="132264" y="0"/>
                </a:cubicBezTo>
                <a:close/>
                <a:moveTo>
                  <a:pt x="132264" y="8582"/>
                </a:moveTo>
                <a:cubicBezTo>
                  <a:pt x="106013" y="8582"/>
                  <a:pt x="92888" y="48463"/>
                  <a:pt x="91878" y="108032"/>
                </a:cubicBezTo>
                <a:lnTo>
                  <a:pt x="165078" y="108032"/>
                </a:lnTo>
                <a:cubicBezTo>
                  <a:pt x="165078" y="51492"/>
                  <a:pt x="161039" y="8582"/>
                  <a:pt x="132264" y="85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7" name="TextBox 66"/>
          <p:cNvSpPr txBox="1">
            <a:spLocks/>
          </p:cNvSpPr>
          <p:nvPr/>
        </p:nvSpPr>
        <p:spPr>
          <a:xfrm>
            <a:off x="11176798" y="694143"/>
            <a:ext cx="64892" cy="115102"/>
          </a:xfrm>
          <a:custGeom>
            <a:avLst/>
            <a:gdLst/>
            <a:ahLst/>
            <a:cxnLst/>
            <a:rect l="l" t="t" r="r" b="b"/>
            <a:pathLst>
              <a:path w="140846" h="249888">
                <a:moveTo>
                  <a:pt x="0" y="0"/>
                </a:moveTo>
                <a:lnTo>
                  <a:pt x="117119" y="0"/>
                </a:lnTo>
                <a:lnTo>
                  <a:pt x="117119" y="194862"/>
                </a:lnTo>
                <a:cubicBezTo>
                  <a:pt x="117119" y="228181"/>
                  <a:pt x="118633" y="234743"/>
                  <a:pt x="140846" y="248878"/>
                </a:cubicBezTo>
                <a:lnTo>
                  <a:pt x="140846" y="249888"/>
                </a:lnTo>
                <a:lnTo>
                  <a:pt x="3029" y="249888"/>
                </a:lnTo>
                <a:lnTo>
                  <a:pt x="3029" y="248878"/>
                </a:lnTo>
                <a:cubicBezTo>
                  <a:pt x="25241" y="234743"/>
                  <a:pt x="26755" y="228181"/>
                  <a:pt x="26755" y="194862"/>
                </a:cubicBezTo>
                <a:lnTo>
                  <a:pt x="26755" y="56035"/>
                </a:lnTo>
                <a:cubicBezTo>
                  <a:pt x="26755" y="21707"/>
                  <a:pt x="23726" y="14640"/>
                  <a:pt x="0" y="1009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8" name="TextBox 67"/>
          <p:cNvSpPr txBox="1">
            <a:spLocks/>
          </p:cNvSpPr>
          <p:nvPr/>
        </p:nvSpPr>
        <p:spPr>
          <a:xfrm>
            <a:off x="11298619" y="842827"/>
            <a:ext cx="149090" cy="167421"/>
          </a:xfrm>
          <a:custGeom>
            <a:avLst/>
            <a:gdLst/>
            <a:ahLst/>
            <a:cxnLst/>
            <a:rect l="l" t="t" r="r" b="b"/>
            <a:pathLst>
              <a:path w="323593" h="363474">
                <a:moveTo>
                  <a:pt x="190319" y="0"/>
                </a:moveTo>
                <a:cubicBezTo>
                  <a:pt x="236258" y="0"/>
                  <a:pt x="260994" y="15145"/>
                  <a:pt x="277653" y="15145"/>
                </a:cubicBezTo>
                <a:cubicBezTo>
                  <a:pt x="291284" y="15145"/>
                  <a:pt x="299866" y="9087"/>
                  <a:pt x="310467" y="0"/>
                </a:cubicBezTo>
                <a:lnTo>
                  <a:pt x="314001" y="120149"/>
                </a:lnTo>
                <a:lnTo>
                  <a:pt x="312991" y="120149"/>
                </a:lnTo>
                <a:cubicBezTo>
                  <a:pt x="287750" y="56541"/>
                  <a:pt x="250393" y="11107"/>
                  <a:pt x="199910" y="11107"/>
                </a:cubicBezTo>
                <a:cubicBezTo>
                  <a:pt x="137312" y="11107"/>
                  <a:pt x="101974" y="80268"/>
                  <a:pt x="101974" y="164573"/>
                </a:cubicBezTo>
                <a:cubicBezTo>
                  <a:pt x="101974" y="260490"/>
                  <a:pt x="155486" y="315011"/>
                  <a:pt x="221113" y="315011"/>
                </a:cubicBezTo>
                <a:cubicBezTo>
                  <a:pt x="263014" y="315011"/>
                  <a:pt x="297846" y="300371"/>
                  <a:pt x="320564" y="252918"/>
                </a:cubicBezTo>
                <a:lnTo>
                  <a:pt x="323593" y="253927"/>
                </a:lnTo>
                <a:cubicBezTo>
                  <a:pt x="306428" y="321574"/>
                  <a:pt x="252412" y="363474"/>
                  <a:pt x="173660" y="363474"/>
                </a:cubicBezTo>
                <a:cubicBezTo>
                  <a:pt x="74209" y="363474"/>
                  <a:pt x="0" y="293304"/>
                  <a:pt x="0" y="186786"/>
                </a:cubicBezTo>
                <a:cubicBezTo>
                  <a:pt x="0" y="76229"/>
                  <a:pt x="85820" y="0"/>
                  <a:pt x="190319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9" name="TextBox 68"/>
          <p:cNvSpPr txBox="1">
            <a:spLocks/>
          </p:cNvSpPr>
          <p:nvPr/>
        </p:nvSpPr>
        <p:spPr>
          <a:xfrm>
            <a:off x="11640919" y="842827"/>
            <a:ext cx="167232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0" name="TextBox 69"/>
          <p:cNvSpPr txBox="1">
            <a:spLocks/>
          </p:cNvSpPr>
          <p:nvPr/>
        </p:nvSpPr>
        <p:spPr>
          <a:xfrm>
            <a:off x="11457735" y="843060"/>
            <a:ext cx="172117" cy="164863"/>
          </a:xfrm>
          <a:custGeom>
            <a:avLst/>
            <a:gdLst/>
            <a:ahLst/>
            <a:cxnLst/>
            <a:rect l="l" t="t" r="r" b="b"/>
            <a:pathLst>
              <a:path w="373571" h="357921">
                <a:moveTo>
                  <a:pt x="17164" y="0"/>
                </a:moveTo>
                <a:cubicBezTo>
                  <a:pt x="24232" y="3534"/>
                  <a:pt x="35338" y="4544"/>
                  <a:pt x="52502" y="4544"/>
                </a:cubicBezTo>
                <a:lnTo>
                  <a:pt x="321069" y="4544"/>
                </a:lnTo>
                <a:cubicBezTo>
                  <a:pt x="338233" y="4544"/>
                  <a:pt x="349339" y="3534"/>
                  <a:pt x="356407" y="0"/>
                </a:cubicBezTo>
                <a:lnTo>
                  <a:pt x="373571" y="119644"/>
                </a:lnTo>
                <a:lnTo>
                  <a:pt x="372561" y="119644"/>
                </a:lnTo>
                <a:cubicBezTo>
                  <a:pt x="329651" y="50988"/>
                  <a:pt x="309963" y="17669"/>
                  <a:pt x="255946" y="17669"/>
                </a:cubicBezTo>
                <a:lnTo>
                  <a:pt x="234239" y="17669"/>
                </a:lnTo>
                <a:lnTo>
                  <a:pt x="234239" y="297847"/>
                </a:lnTo>
                <a:cubicBezTo>
                  <a:pt x="234239" y="331165"/>
                  <a:pt x="240802" y="342272"/>
                  <a:pt x="263014" y="356912"/>
                </a:cubicBezTo>
                <a:lnTo>
                  <a:pt x="263014" y="357921"/>
                </a:lnTo>
                <a:lnTo>
                  <a:pt x="110557" y="357921"/>
                </a:lnTo>
                <a:lnTo>
                  <a:pt x="110557" y="356912"/>
                </a:lnTo>
                <a:cubicBezTo>
                  <a:pt x="133274" y="342272"/>
                  <a:pt x="139332" y="331165"/>
                  <a:pt x="139332" y="297847"/>
                </a:cubicBezTo>
                <a:lnTo>
                  <a:pt x="139332" y="17669"/>
                </a:lnTo>
                <a:lnTo>
                  <a:pt x="117624" y="17669"/>
                </a:lnTo>
                <a:cubicBezTo>
                  <a:pt x="63608" y="17669"/>
                  <a:pt x="43920" y="50988"/>
                  <a:pt x="1010" y="119644"/>
                </a:cubicBezTo>
                <a:lnTo>
                  <a:pt x="0" y="119644"/>
                </a:lnTo>
                <a:lnTo>
                  <a:pt x="17164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11001879" y="849615"/>
            <a:ext cx="276881" cy="61257"/>
            <a:chOff x="10999013" y="849614"/>
            <a:chExt cx="276809" cy="61257"/>
          </a:xfrm>
          <a:solidFill>
            <a:schemeClr val="accent3"/>
          </a:solidFill>
        </p:grpSpPr>
        <p:sp>
          <p:nvSpPr>
            <p:cNvPr id="71" name="TextBox 70"/>
            <p:cNvSpPr txBox="1">
              <a:spLocks/>
            </p:cNvSpPr>
            <p:nvPr/>
          </p:nvSpPr>
          <p:spPr>
            <a:xfrm>
              <a:off x="10999013" y="849614"/>
              <a:ext cx="60220" cy="61257"/>
            </a:xfrm>
            <a:custGeom>
              <a:avLst/>
              <a:gdLst/>
              <a:ahLst/>
              <a:cxnLst/>
              <a:rect l="l" t="t" r="r" b="b"/>
              <a:pathLst>
                <a:path w="130738" h="132991">
                  <a:moveTo>
                    <a:pt x="65709" y="0"/>
                  </a:moveTo>
                  <a:cubicBezTo>
                    <a:pt x="86122" y="0"/>
                    <a:pt x="102063" y="5891"/>
                    <a:pt x="113533" y="17673"/>
                  </a:cubicBezTo>
                  <a:cubicBezTo>
                    <a:pt x="125003" y="29455"/>
                    <a:pt x="130738" y="45715"/>
                    <a:pt x="130738" y="66451"/>
                  </a:cubicBezTo>
                  <a:cubicBezTo>
                    <a:pt x="130738" y="87129"/>
                    <a:pt x="124987" y="103389"/>
                    <a:pt x="113485" y="115230"/>
                  </a:cubicBezTo>
                  <a:cubicBezTo>
                    <a:pt x="101982" y="127071"/>
                    <a:pt x="85992" y="132991"/>
                    <a:pt x="65515" y="132991"/>
                  </a:cubicBezTo>
                  <a:cubicBezTo>
                    <a:pt x="44584" y="132991"/>
                    <a:pt x="28432" y="127174"/>
                    <a:pt x="17059" y="115539"/>
                  </a:cubicBezTo>
                  <a:cubicBezTo>
                    <a:pt x="5686" y="103904"/>
                    <a:pt x="0" y="87483"/>
                    <a:pt x="0" y="66275"/>
                  </a:cubicBezTo>
                  <a:cubicBezTo>
                    <a:pt x="0" y="45243"/>
                    <a:pt x="5702" y="28940"/>
                    <a:pt x="17107" y="17364"/>
                  </a:cubicBezTo>
                  <a:cubicBezTo>
                    <a:pt x="28513" y="5788"/>
                    <a:pt x="44713" y="0"/>
                    <a:pt x="65709" y="0"/>
                  </a:cubicBezTo>
                  <a:close/>
                  <a:moveTo>
                    <a:pt x="65709" y="13431"/>
                  </a:moveTo>
                  <a:cubicBezTo>
                    <a:pt x="49962" y="13431"/>
                    <a:pt x="37990" y="17953"/>
                    <a:pt x="29793" y="26996"/>
                  </a:cubicBezTo>
                  <a:cubicBezTo>
                    <a:pt x="21595" y="36038"/>
                    <a:pt x="17496" y="49190"/>
                    <a:pt x="17496" y="66451"/>
                  </a:cubicBezTo>
                  <a:cubicBezTo>
                    <a:pt x="17496" y="83948"/>
                    <a:pt x="21595" y="97218"/>
                    <a:pt x="29793" y="106261"/>
                  </a:cubicBezTo>
                  <a:cubicBezTo>
                    <a:pt x="37990" y="115303"/>
                    <a:pt x="49897" y="119825"/>
                    <a:pt x="65515" y="119825"/>
                  </a:cubicBezTo>
                  <a:cubicBezTo>
                    <a:pt x="81262" y="119825"/>
                    <a:pt x="93153" y="115318"/>
                    <a:pt x="101188" y="106305"/>
                  </a:cubicBezTo>
                  <a:cubicBezTo>
                    <a:pt x="109224" y="97291"/>
                    <a:pt x="113242" y="84007"/>
                    <a:pt x="113242" y="66451"/>
                  </a:cubicBezTo>
                  <a:cubicBezTo>
                    <a:pt x="113242" y="49073"/>
                    <a:pt x="109240" y="35891"/>
                    <a:pt x="101237" y="26907"/>
                  </a:cubicBezTo>
                  <a:cubicBezTo>
                    <a:pt x="93234" y="17923"/>
                    <a:pt x="81391" y="13431"/>
                    <a:pt x="65709" y="13431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2" name="TextBox 71"/>
            <p:cNvSpPr txBox="1">
              <a:spLocks/>
            </p:cNvSpPr>
            <p:nvPr/>
          </p:nvSpPr>
          <p:spPr>
            <a:xfrm>
              <a:off x="11068225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60620"/>
                  </a:lnTo>
                  <a:lnTo>
                    <a:pt x="75430" y="60620"/>
                  </a:lnTo>
                  <a:lnTo>
                    <a:pt x="75430" y="73963"/>
                  </a:lnTo>
                  <a:lnTo>
                    <a:pt x="16525" y="73963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3" name="TextBox 72"/>
            <p:cNvSpPr txBox="1">
              <a:spLocks/>
            </p:cNvSpPr>
            <p:nvPr/>
          </p:nvSpPr>
          <p:spPr>
            <a:xfrm>
              <a:off x="11121455" y="850549"/>
              <a:ext cx="49071" cy="59507"/>
            </a:xfrm>
            <a:custGeom>
              <a:avLst/>
              <a:gdLst/>
              <a:ahLst/>
              <a:cxnLst/>
              <a:rect l="l" t="t" r="r" b="b"/>
              <a:pathLst>
                <a:path w="106535" h="129192">
                  <a:moveTo>
                    <a:pt x="0" y="0"/>
                  </a:moveTo>
                  <a:lnTo>
                    <a:pt x="106535" y="0"/>
                  </a:lnTo>
                  <a:lnTo>
                    <a:pt x="106535" y="13343"/>
                  </a:lnTo>
                  <a:lnTo>
                    <a:pt x="61530" y="13343"/>
                  </a:lnTo>
                  <a:lnTo>
                    <a:pt x="61530" y="129192"/>
                  </a:lnTo>
                  <a:lnTo>
                    <a:pt x="45005" y="129192"/>
                  </a:lnTo>
                  <a:lnTo>
                    <a:pt x="45005" y="13343"/>
                  </a:lnTo>
                  <a:lnTo>
                    <a:pt x="0" y="1334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4" name="TextBox 73"/>
            <p:cNvSpPr txBox="1">
              <a:spLocks/>
            </p:cNvSpPr>
            <p:nvPr/>
          </p:nvSpPr>
          <p:spPr>
            <a:xfrm>
              <a:off x="11177909" y="850549"/>
              <a:ext cx="49698" cy="59507"/>
            </a:xfrm>
            <a:custGeom>
              <a:avLst/>
              <a:gdLst/>
              <a:ahLst/>
              <a:cxnLst/>
              <a:rect l="l" t="t" r="r" b="b"/>
              <a:pathLst>
                <a:path w="107896" h="129192">
                  <a:moveTo>
                    <a:pt x="0" y="0"/>
                  </a:moveTo>
                  <a:lnTo>
                    <a:pt x="16525" y="0"/>
                  </a:lnTo>
                  <a:lnTo>
                    <a:pt x="16525" y="54964"/>
                  </a:lnTo>
                  <a:lnTo>
                    <a:pt x="91371" y="54964"/>
                  </a:lnTo>
                  <a:lnTo>
                    <a:pt x="91371" y="0"/>
                  </a:lnTo>
                  <a:lnTo>
                    <a:pt x="107896" y="0"/>
                  </a:lnTo>
                  <a:lnTo>
                    <a:pt x="107896" y="129192"/>
                  </a:lnTo>
                  <a:lnTo>
                    <a:pt x="91371" y="129192"/>
                  </a:lnTo>
                  <a:lnTo>
                    <a:pt x="91371" y="68396"/>
                  </a:lnTo>
                  <a:lnTo>
                    <a:pt x="16525" y="68396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5" name="TextBox 74"/>
            <p:cNvSpPr txBox="1">
              <a:spLocks/>
            </p:cNvSpPr>
            <p:nvPr/>
          </p:nvSpPr>
          <p:spPr>
            <a:xfrm>
              <a:off x="11239332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54964"/>
                  </a:lnTo>
                  <a:lnTo>
                    <a:pt x="75430" y="54964"/>
                  </a:lnTo>
                  <a:lnTo>
                    <a:pt x="75430" y="68219"/>
                  </a:lnTo>
                  <a:lnTo>
                    <a:pt x="16525" y="68219"/>
                  </a:lnTo>
                  <a:lnTo>
                    <a:pt x="16525" y="115760"/>
                  </a:lnTo>
                  <a:lnTo>
                    <a:pt x="79221" y="115760"/>
                  </a:lnTo>
                  <a:lnTo>
                    <a:pt x="79221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62" name="Freeform 9"/>
          <p:cNvSpPr>
            <a:spLocks noEditPoints="1"/>
          </p:cNvSpPr>
          <p:nvPr/>
        </p:nvSpPr>
        <p:spPr bwMode="auto">
          <a:xfrm>
            <a:off x="10579888" y="371026"/>
            <a:ext cx="1417689" cy="783522"/>
          </a:xfrm>
          <a:custGeom>
            <a:avLst/>
            <a:gdLst>
              <a:gd name="T0" fmla="*/ 279 w 326"/>
              <a:gd name="T1" fmla="*/ 180 h 180"/>
              <a:gd name="T2" fmla="*/ 271 w 326"/>
              <a:gd name="T3" fmla="*/ 179 h 180"/>
              <a:gd name="T4" fmla="*/ 45 w 326"/>
              <a:gd name="T5" fmla="*/ 179 h 180"/>
              <a:gd name="T6" fmla="*/ 6 w 326"/>
              <a:gd name="T7" fmla="*/ 153 h 180"/>
              <a:gd name="T8" fmla="*/ 0 w 326"/>
              <a:gd name="T9" fmla="*/ 129 h 180"/>
              <a:gd name="T10" fmla="*/ 32 w 326"/>
              <a:gd name="T11" fmla="*/ 82 h 180"/>
              <a:gd name="T12" fmla="*/ 30 w 326"/>
              <a:gd name="T13" fmla="*/ 70 h 180"/>
              <a:gd name="T14" fmla="*/ 100 w 326"/>
              <a:gd name="T15" fmla="*/ 0 h 180"/>
              <a:gd name="T16" fmla="*/ 154 w 326"/>
              <a:gd name="T17" fmla="*/ 26 h 180"/>
              <a:gd name="T18" fmla="*/ 187 w 326"/>
              <a:gd name="T19" fmla="*/ 16 h 180"/>
              <a:gd name="T20" fmla="*/ 242 w 326"/>
              <a:gd name="T21" fmla="*/ 55 h 180"/>
              <a:gd name="T22" fmla="*/ 245 w 326"/>
              <a:gd name="T23" fmla="*/ 54 h 180"/>
              <a:gd name="T24" fmla="*/ 280 w 326"/>
              <a:gd name="T25" fmla="*/ 85 h 180"/>
              <a:gd name="T26" fmla="*/ 326 w 326"/>
              <a:gd name="T27" fmla="*/ 132 h 180"/>
              <a:gd name="T28" fmla="*/ 279 w 326"/>
              <a:gd name="T29" fmla="*/ 180 h 180"/>
              <a:gd name="T30" fmla="*/ 100 w 326"/>
              <a:gd name="T31" fmla="*/ 4 h 180"/>
              <a:gd name="T32" fmla="*/ 34 w 326"/>
              <a:gd name="T33" fmla="*/ 70 h 180"/>
              <a:gd name="T34" fmla="*/ 36 w 326"/>
              <a:gd name="T35" fmla="*/ 83 h 180"/>
              <a:gd name="T36" fmla="*/ 36 w 326"/>
              <a:gd name="T37" fmla="*/ 85 h 180"/>
              <a:gd name="T38" fmla="*/ 35 w 326"/>
              <a:gd name="T39" fmla="*/ 86 h 180"/>
              <a:gd name="T40" fmla="*/ 4 w 326"/>
              <a:gd name="T41" fmla="*/ 129 h 180"/>
              <a:gd name="T42" fmla="*/ 10 w 326"/>
              <a:gd name="T43" fmla="*/ 151 h 180"/>
              <a:gd name="T44" fmla="*/ 10 w 326"/>
              <a:gd name="T45" fmla="*/ 151 h 180"/>
              <a:gd name="T46" fmla="*/ 45 w 326"/>
              <a:gd name="T47" fmla="*/ 175 h 180"/>
              <a:gd name="T48" fmla="*/ 271 w 326"/>
              <a:gd name="T49" fmla="*/ 175 h 180"/>
              <a:gd name="T50" fmla="*/ 272 w 326"/>
              <a:gd name="T51" fmla="*/ 175 h 180"/>
              <a:gd name="T52" fmla="*/ 279 w 326"/>
              <a:gd name="T53" fmla="*/ 176 h 180"/>
              <a:gd name="T54" fmla="*/ 322 w 326"/>
              <a:gd name="T55" fmla="*/ 132 h 180"/>
              <a:gd name="T56" fmla="*/ 279 w 326"/>
              <a:gd name="T57" fmla="*/ 89 h 180"/>
              <a:gd name="T58" fmla="*/ 278 w 326"/>
              <a:gd name="T59" fmla="*/ 89 h 180"/>
              <a:gd name="T60" fmla="*/ 276 w 326"/>
              <a:gd name="T61" fmla="*/ 89 h 180"/>
              <a:gd name="T62" fmla="*/ 276 w 326"/>
              <a:gd name="T63" fmla="*/ 87 h 180"/>
              <a:gd name="T64" fmla="*/ 245 w 326"/>
              <a:gd name="T65" fmla="*/ 58 h 180"/>
              <a:gd name="T66" fmla="*/ 240 w 326"/>
              <a:gd name="T67" fmla="*/ 59 h 180"/>
              <a:gd name="T68" fmla="*/ 239 w 326"/>
              <a:gd name="T69" fmla="*/ 59 h 180"/>
              <a:gd name="T70" fmla="*/ 238 w 326"/>
              <a:gd name="T71" fmla="*/ 57 h 180"/>
              <a:gd name="T72" fmla="*/ 187 w 326"/>
              <a:gd name="T73" fmla="*/ 20 h 180"/>
              <a:gd name="T74" fmla="*/ 155 w 326"/>
              <a:gd name="T75" fmla="*/ 30 h 180"/>
              <a:gd name="T76" fmla="*/ 153 w 326"/>
              <a:gd name="T77" fmla="*/ 31 h 180"/>
              <a:gd name="T78" fmla="*/ 152 w 326"/>
              <a:gd name="T79" fmla="*/ 30 h 180"/>
              <a:gd name="T80" fmla="*/ 100 w 326"/>
              <a:gd name="T81" fmla="*/ 4 h 1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326" h="180">
                <a:moveTo>
                  <a:pt x="279" y="180"/>
                </a:moveTo>
                <a:cubicBezTo>
                  <a:pt x="276" y="180"/>
                  <a:pt x="274" y="179"/>
                  <a:pt x="271" y="179"/>
                </a:cubicBezTo>
                <a:cubicBezTo>
                  <a:pt x="45" y="179"/>
                  <a:pt x="45" y="179"/>
                  <a:pt x="45" y="179"/>
                </a:cubicBezTo>
                <a:cubicBezTo>
                  <a:pt x="28" y="179"/>
                  <a:pt x="13" y="169"/>
                  <a:pt x="6" y="153"/>
                </a:cubicBezTo>
                <a:cubicBezTo>
                  <a:pt x="2" y="146"/>
                  <a:pt x="0" y="137"/>
                  <a:pt x="0" y="129"/>
                </a:cubicBezTo>
                <a:cubicBezTo>
                  <a:pt x="0" y="109"/>
                  <a:pt x="13" y="90"/>
                  <a:pt x="32" y="82"/>
                </a:cubicBezTo>
                <a:cubicBezTo>
                  <a:pt x="31" y="78"/>
                  <a:pt x="30" y="74"/>
                  <a:pt x="30" y="70"/>
                </a:cubicBezTo>
                <a:cubicBezTo>
                  <a:pt x="30" y="32"/>
                  <a:pt x="62" y="0"/>
                  <a:pt x="100" y="0"/>
                </a:cubicBezTo>
                <a:cubicBezTo>
                  <a:pt x="121" y="0"/>
                  <a:pt x="141" y="10"/>
                  <a:pt x="154" y="26"/>
                </a:cubicBezTo>
                <a:cubicBezTo>
                  <a:pt x="164" y="19"/>
                  <a:pt x="175" y="16"/>
                  <a:pt x="187" y="16"/>
                </a:cubicBezTo>
                <a:cubicBezTo>
                  <a:pt x="212" y="16"/>
                  <a:pt x="233" y="31"/>
                  <a:pt x="242" y="55"/>
                </a:cubicBezTo>
                <a:cubicBezTo>
                  <a:pt x="243" y="54"/>
                  <a:pt x="244" y="54"/>
                  <a:pt x="245" y="54"/>
                </a:cubicBezTo>
                <a:cubicBezTo>
                  <a:pt x="263" y="54"/>
                  <a:pt x="278" y="68"/>
                  <a:pt x="280" y="85"/>
                </a:cubicBezTo>
                <a:cubicBezTo>
                  <a:pt x="305" y="86"/>
                  <a:pt x="326" y="107"/>
                  <a:pt x="326" y="132"/>
                </a:cubicBezTo>
                <a:cubicBezTo>
                  <a:pt x="326" y="158"/>
                  <a:pt x="305" y="180"/>
                  <a:pt x="279" y="180"/>
                </a:cubicBezTo>
                <a:close/>
                <a:moveTo>
                  <a:pt x="100" y="4"/>
                </a:moveTo>
                <a:cubicBezTo>
                  <a:pt x="64" y="4"/>
                  <a:pt x="34" y="34"/>
                  <a:pt x="34" y="70"/>
                </a:cubicBezTo>
                <a:cubicBezTo>
                  <a:pt x="34" y="75"/>
                  <a:pt x="35" y="79"/>
                  <a:pt x="36" y="83"/>
                </a:cubicBezTo>
                <a:cubicBezTo>
                  <a:pt x="36" y="85"/>
                  <a:pt x="36" y="85"/>
                  <a:pt x="36" y="85"/>
                </a:cubicBezTo>
                <a:cubicBezTo>
                  <a:pt x="35" y="86"/>
                  <a:pt x="35" y="86"/>
                  <a:pt x="35" y="86"/>
                </a:cubicBezTo>
                <a:cubicBezTo>
                  <a:pt x="16" y="92"/>
                  <a:pt x="4" y="110"/>
                  <a:pt x="4" y="129"/>
                </a:cubicBezTo>
                <a:cubicBezTo>
                  <a:pt x="4" y="137"/>
                  <a:pt x="6" y="144"/>
                  <a:pt x="10" y="151"/>
                </a:cubicBezTo>
                <a:cubicBezTo>
                  <a:pt x="10" y="151"/>
                  <a:pt x="10" y="151"/>
                  <a:pt x="10" y="151"/>
                </a:cubicBezTo>
                <a:cubicBezTo>
                  <a:pt x="16" y="166"/>
                  <a:pt x="30" y="175"/>
                  <a:pt x="45" y="175"/>
                </a:cubicBezTo>
                <a:cubicBezTo>
                  <a:pt x="271" y="175"/>
                  <a:pt x="271" y="175"/>
                  <a:pt x="271" y="175"/>
                </a:cubicBezTo>
                <a:cubicBezTo>
                  <a:pt x="272" y="175"/>
                  <a:pt x="272" y="175"/>
                  <a:pt x="272" y="175"/>
                </a:cubicBezTo>
                <a:cubicBezTo>
                  <a:pt x="274" y="175"/>
                  <a:pt x="276" y="176"/>
                  <a:pt x="279" y="176"/>
                </a:cubicBezTo>
                <a:cubicBezTo>
                  <a:pt x="303" y="176"/>
                  <a:pt x="322" y="156"/>
                  <a:pt x="322" y="132"/>
                </a:cubicBezTo>
                <a:cubicBezTo>
                  <a:pt x="322" y="109"/>
                  <a:pt x="303" y="89"/>
                  <a:pt x="279" y="89"/>
                </a:cubicBezTo>
                <a:cubicBezTo>
                  <a:pt x="279" y="89"/>
                  <a:pt x="278" y="89"/>
                  <a:pt x="278" y="89"/>
                </a:cubicBezTo>
                <a:cubicBezTo>
                  <a:pt x="276" y="89"/>
                  <a:pt x="276" y="89"/>
                  <a:pt x="276" y="89"/>
                </a:cubicBezTo>
                <a:cubicBezTo>
                  <a:pt x="276" y="87"/>
                  <a:pt x="276" y="87"/>
                  <a:pt x="276" y="87"/>
                </a:cubicBezTo>
                <a:cubicBezTo>
                  <a:pt x="275" y="71"/>
                  <a:pt x="261" y="58"/>
                  <a:pt x="245" y="58"/>
                </a:cubicBezTo>
                <a:cubicBezTo>
                  <a:pt x="243" y="58"/>
                  <a:pt x="242" y="59"/>
                  <a:pt x="240" y="59"/>
                </a:cubicBezTo>
                <a:cubicBezTo>
                  <a:pt x="239" y="59"/>
                  <a:pt x="239" y="59"/>
                  <a:pt x="239" y="59"/>
                </a:cubicBezTo>
                <a:cubicBezTo>
                  <a:pt x="238" y="57"/>
                  <a:pt x="238" y="57"/>
                  <a:pt x="238" y="57"/>
                </a:cubicBezTo>
                <a:cubicBezTo>
                  <a:pt x="231" y="35"/>
                  <a:pt x="210" y="20"/>
                  <a:pt x="187" y="20"/>
                </a:cubicBezTo>
                <a:cubicBezTo>
                  <a:pt x="175" y="20"/>
                  <a:pt x="164" y="23"/>
                  <a:pt x="155" y="30"/>
                </a:cubicBezTo>
                <a:cubicBezTo>
                  <a:pt x="153" y="31"/>
                  <a:pt x="153" y="31"/>
                  <a:pt x="153" y="31"/>
                </a:cubicBezTo>
                <a:cubicBezTo>
                  <a:pt x="152" y="30"/>
                  <a:pt x="152" y="30"/>
                  <a:pt x="152" y="30"/>
                </a:cubicBezTo>
                <a:cubicBezTo>
                  <a:pt x="139" y="14"/>
                  <a:pt x="121" y="4"/>
                  <a:pt x="100" y="4"/>
                </a:cubicBezTo>
                <a:close/>
              </a:path>
            </a:pathLst>
          </a:custGeom>
          <a:solidFill>
            <a:srgbClr val="34697F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3" name="Rectangle 22"/>
          <p:cNvSpPr/>
          <p:nvPr userDrawn="1"/>
        </p:nvSpPr>
        <p:spPr>
          <a:xfrm>
            <a:off x="3840478" y="1554232"/>
            <a:ext cx="91440" cy="5303521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4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4387540" y="2011680"/>
            <a:ext cx="7342497" cy="4162001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Body text</a:t>
            </a: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nternal Slide - Photo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6215782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14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Picture Placeholder 5"/>
          <p:cNvSpPr>
            <a:spLocks noGrp="1"/>
          </p:cNvSpPr>
          <p:nvPr>
            <p:ph type="pic" sz="quarter" idx="13" hasCustomPrompt="1"/>
          </p:nvPr>
        </p:nvSpPr>
        <p:spPr>
          <a:xfrm>
            <a:off x="8900160" y="1554480"/>
            <a:ext cx="3291840" cy="5303519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algn="ctr">
              <a:defRPr sz="320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55" name="Rectangle 54"/>
          <p:cNvSpPr/>
          <p:nvPr/>
        </p:nvSpPr>
        <p:spPr>
          <a:xfrm>
            <a:off x="0" y="1"/>
            <a:ext cx="12191996" cy="1554480"/>
          </a:xfrm>
          <a:prstGeom prst="rect">
            <a:avLst/>
          </a:prstGeom>
          <a:solidFill>
            <a:srgbClr val="064E69"/>
          </a:solidFill>
        </p:spPr>
        <p:txBody>
          <a:bodyPr wrap="square" lIns="548640" tIns="0" rIns="91440" bIns="0" anchor="ctr">
            <a:noAutofit/>
          </a:bodyPr>
          <a:lstStyle/>
          <a:p>
            <a:endParaRPr lang="en-US" sz="4000" b="1" dirty="0">
              <a:solidFill>
                <a:schemeClr val="bg1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6" name="Rectangle 55"/>
          <p:cNvSpPr/>
          <p:nvPr/>
        </p:nvSpPr>
        <p:spPr>
          <a:xfrm>
            <a:off x="-1" y="1448246"/>
            <a:ext cx="12192127" cy="106731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7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96379"/>
            <a:ext cx="9688623" cy="476805"/>
          </a:xfrm>
          <a:prstGeom prst="rect">
            <a:avLst/>
          </a:prstGeom>
        </p:spPr>
        <p:txBody>
          <a:bodyPr tIns="0" bIns="0" anchor="t" anchorCtr="0"/>
          <a:lstStyle>
            <a:lvl1pPr algn="l">
              <a:defRPr sz="3000" b="1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58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860151"/>
            <a:ext cx="9688622" cy="423094"/>
          </a:xfrm>
          <a:prstGeom prst="rect">
            <a:avLst/>
          </a:prstGeom>
        </p:spPr>
        <p:txBody>
          <a:bodyPr anchor="ctr"/>
          <a:lstStyle>
            <a:lvl1pPr algn="l">
              <a:lnSpc>
                <a:spcPct val="90000"/>
              </a:lnSpc>
              <a:spcBef>
                <a:spcPts val="0"/>
              </a:spcBef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cxnSp>
        <p:nvCxnSpPr>
          <p:cNvPr id="59" name="Straight Connector 58"/>
          <p:cNvCxnSpPr/>
          <p:nvPr/>
        </p:nvCxnSpPr>
        <p:spPr>
          <a:xfrm>
            <a:off x="10363874" y="222724"/>
            <a:ext cx="0" cy="1032988"/>
          </a:xfrm>
          <a:prstGeom prst="line">
            <a:avLst/>
          </a:prstGeom>
          <a:ln w="15875" cmpd="sng">
            <a:solidFill>
              <a:schemeClr val="accent2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TextBox 62"/>
          <p:cNvSpPr txBox="1">
            <a:spLocks/>
          </p:cNvSpPr>
          <p:nvPr/>
        </p:nvSpPr>
        <p:spPr>
          <a:xfrm>
            <a:off x="11008872" y="633221"/>
            <a:ext cx="224212" cy="176024"/>
          </a:xfrm>
          <a:custGeom>
            <a:avLst/>
            <a:gdLst/>
            <a:ahLst/>
            <a:cxnLst/>
            <a:rect l="l" t="t" r="r" b="b"/>
            <a:pathLst>
              <a:path w="486642" h="382152">
                <a:moveTo>
                  <a:pt x="150943" y="0"/>
                </a:moveTo>
                <a:cubicBezTo>
                  <a:pt x="191582" y="0"/>
                  <a:pt x="224490" y="12368"/>
                  <a:pt x="232082" y="39810"/>
                </a:cubicBezTo>
                <a:lnTo>
                  <a:pt x="232262" y="41192"/>
                </a:lnTo>
                <a:lnTo>
                  <a:pt x="244394" y="27828"/>
                </a:lnTo>
                <a:cubicBezTo>
                  <a:pt x="265912" y="9086"/>
                  <a:pt x="296328" y="0"/>
                  <a:pt x="331918" y="0"/>
                </a:cubicBezTo>
                <a:cubicBezTo>
                  <a:pt x="355140" y="0"/>
                  <a:pt x="375838" y="4038"/>
                  <a:pt x="390730" y="12620"/>
                </a:cubicBezTo>
                <a:lnTo>
                  <a:pt x="399550" y="19037"/>
                </a:lnTo>
                <a:lnTo>
                  <a:pt x="415123" y="9213"/>
                </a:lnTo>
                <a:cubicBezTo>
                  <a:pt x="421204" y="6846"/>
                  <a:pt x="427956" y="5553"/>
                  <a:pt x="435150" y="5553"/>
                </a:cubicBezTo>
                <a:cubicBezTo>
                  <a:pt x="464430" y="5553"/>
                  <a:pt x="486642" y="26250"/>
                  <a:pt x="486642" y="53511"/>
                </a:cubicBezTo>
                <a:cubicBezTo>
                  <a:pt x="486642" y="80772"/>
                  <a:pt x="464430" y="101974"/>
                  <a:pt x="435150" y="101974"/>
                </a:cubicBezTo>
                <a:cubicBezTo>
                  <a:pt x="420763" y="101974"/>
                  <a:pt x="408142" y="96674"/>
                  <a:pt x="399118" y="87965"/>
                </a:cubicBezTo>
                <a:lnTo>
                  <a:pt x="397141" y="85099"/>
                </a:lnTo>
                <a:lnTo>
                  <a:pt x="387023" y="90979"/>
                </a:lnTo>
                <a:cubicBezTo>
                  <a:pt x="381675" y="92887"/>
                  <a:pt x="375838" y="93897"/>
                  <a:pt x="369780" y="93897"/>
                </a:cubicBezTo>
                <a:cubicBezTo>
                  <a:pt x="355140" y="93897"/>
                  <a:pt x="342015" y="89354"/>
                  <a:pt x="335452" y="81781"/>
                </a:cubicBezTo>
                <a:cubicBezTo>
                  <a:pt x="350092" y="78247"/>
                  <a:pt x="359179" y="66132"/>
                  <a:pt x="359179" y="42910"/>
                </a:cubicBezTo>
                <a:cubicBezTo>
                  <a:pt x="359179" y="22717"/>
                  <a:pt x="350597" y="8077"/>
                  <a:pt x="331918" y="8077"/>
                </a:cubicBezTo>
                <a:cubicBezTo>
                  <a:pt x="308696" y="8077"/>
                  <a:pt x="300619" y="29784"/>
                  <a:pt x="300619" y="58054"/>
                </a:cubicBezTo>
                <a:lnTo>
                  <a:pt x="300619" y="132264"/>
                </a:lnTo>
                <a:lnTo>
                  <a:pt x="363217" y="132264"/>
                </a:lnTo>
                <a:lnTo>
                  <a:pt x="360693" y="144884"/>
                </a:lnTo>
                <a:lnTo>
                  <a:pt x="300619" y="144884"/>
                </a:lnTo>
                <a:lnTo>
                  <a:pt x="300619" y="327126"/>
                </a:lnTo>
                <a:cubicBezTo>
                  <a:pt x="300619" y="360445"/>
                  <a:pt x="312230" y="369027"/>
                  <a:pt x="339490" y="381142"/>
                </a:cubicBezTo>
                <a:lnTo>
                  <a:pt x="339490" y="382152"/>
                </a:lnTo>
                <a:lnTo>
                  <a:pt x="186529" y="382152"/>
                </a:lnTo>
                <a:lnTo>
                  <a:pt x="186529" y="381142"/>
                </a:lnTo>
                <a:cubicBezTo>
                  <a:pt x="208741" y="367007"/>
                  <a:pt x="210255" y="360445"/>
                  <a:pt x="210255" y="327126"/>
                </a:cubicBezTo>
                <a:lnTo>
                  <a:pt x="210255" y="144884"/>
                </a:lnTo>
                <a:lnTo>
                  <a:pt x="180976" y="144884"/>
                </a:lnTo>
                <a:lnTo>
                  <a:pt x="180976" y="139331"/>
                </a:lnTo>
                <a:lnTo>
                  <a:pt x="210255" y="128225"/>
                </a:lnTo>
                <a:lnTo>
                  <a:pt x="210255" y="113585"/>
                </a:lnTo>
                <a:lnTo>
                  <a:pt x="212504" y="87227"/>
                </a:lnTo>
                <a:lnTo>
                  <a:pt x="206048" y="90979"/>
                </a:lnTo>
                <a:cubicBezTo>
                  <a:pt x="200700" y="92887"/>
                  <a:pt x="194863" y="93897"/>
                  <a:pt x="188805" y="93897"/>
                </a:cubicBezTo>
                <a:cubicBezTo>
                  <a:pt x="174165" y="93897"/>
                  <a:pt x="161040" y="89354"/>
                  <a:pt x="154477" y="81781"/>
                </a:cubicBezTo>
                <a:cubicBezTo>
                  <a:pt x="169117" y="78247"/>
                  <a:pt x="178204" y="66132"/>
                  <a:pt x="178204" y="42910"/>
                </a:cubicBezTo>
                <a:cubicBezTo>
                  <a:pt x="178204" y="22717"/>
                  <a:pt x="169622" y="8077"/>
                  <a:pt x="150943" y="8077"/>
                </a:cubicBezTo>
                <a:cubicBezTo>
                  <a:pt x="127721" y="8077"/>
                  <a:pt x="119644" y="29784"/>
                  <a:pt x="119644" y="58054"/>
                </a:cubicBezTo>
                <a:lnTo>
                  <a:pt x="119644" y="132264"/>
                </a:lnTo>
                <a:lnTo>
                  <a:pt x="182242" y="132264"/>
                </a:lnTo>
                <a:lnTo>
                  <a:pt x="179718" y="144884"/>
                </a:lnTo>
                <a:lnTo>
                  <a:pt x="119644" y="144884"/>
                </a:lnTo>
                <a:lnTo>
                  <a:pt x="119644" y="327126"/>
                </a:lnTo>
                <a:cubicBezTo>
                  <a:pt x="119644" y="360445"/>
                  <a:pt x="131255" y="369027"/>
                  <a:pt x="158516" y="381142"/>
                </a:cubicBezTo>
                <a:lnTo>
                  <a:pt x="158516" y="382152"/>
                </a:lnTo>
                <a:lnTo>
                  <a:pt x="5554" y="382152"/>
                </a:lnTo>
                <a:lnTo>
                  <a:pt x="5554" y="381142"/>
                </a:lnTo>
                <a:cubicBezTo>
                  <a:pt x="27766" y="367007"/>
                  <a:pt x="29280" y="360445"/>
                  <a:pt x="29280" y="327126"/>
                </a:cubicBezTo>
                <a:lnTo>
                  <a:pt x="29280" y="144884"/>
                </a:lnTo>
                <a:lnTo>
                  <a:pt x="0" y="144884"/>
                </a:lnTo>
                <a:lnTo>
                  <a:pt x="0" y="139331"/>
                </a:lnTo>
                <a:lnTo>
                  <a:pt x="29280" y="128225"/>
                </a:lnTo>
                <a:lnTo>
                  <a:pt x="29280" y="113585"/>
                </a:lnTo>
                <a:cubicBezTo>
                  <a:pt x="29280" y="36347"/>
                  <a:pt x="79763" y="0"/>
                  <a:pt x="150943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4" name="TextBox 63"/>
          <p:cNvSpPr txBox="1">
            <a:spLocks/>
          </p:cNvSpPr>
          <p:nvPr/>
        </p:nvSpPr>
        <p:spPr>
          <a:xfrm>
            <a:off x="10828278" y="644150"/>
            <a:ext cx="167232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5" name="TextBox 64"/>
          <p:cNvSpPr txBox="1">
            <a:spLocks/>
          </p:cNvSpPr>
          <p:nvPr/>
        </p:nvSpPr>
        <p:spPr>
          <a:xfrm>
            <a:off x="11252333" y="691818"/>
            <a:ext cx="113038" cy="119752"/>
          </a:xfrm>
          <a:custGeom>
            <a:avLst/>
            <a:gdLst/>
            <a:ahLst/>
            <a:cxnLst/>
            <a:rect l="l" t="t" r="r" b="b"/>
            <a:pathLst>
              <a:path w="245345" h="259984">
                <a:moveTo>
                  <a:pt x="144885" y="0"/>
                </a:moveTo>
                <a:cubicBezTo>
                  <a:pt x="199406" y="0"/>
                  <a:pt x="240297" y="23726"/>
                  <a:pt x="240297" y="65122"/>
                </a:cubicBezTo>
                <a:cubicBezTo>
                  <a:pt x="240297" y="95411"/>
                  <a:pt x="217075" y="111061"/>
                  <a:pt x="192843" y="111061"/>
                </a:cubicBezTo>
                <a:cubicBezTo>
                  <a:pt x="166087" y="111061"/>
                  <a:pt x="150438" y="96421"/>
                  <a:pt x="148923" y="81781"/>
                </a:cubicBezTo>
                <a:cubicBezTo>
                  <a:pt x="151952" y="82791"/>
                  <a:pt x="155486" y="83296"/>
                  <a:pt x="158010" y="83296"/>
                </a:cubicBezTo>
                <a:cubicBezTo>
                  <a:pt x="176689" y="83296"/>
                  <a:pt x="184261" y="67646"/>
                  <a:pt x="184261" y="48463"/>
                </a:cubicBezTo>
                <a:cubicBezTo>
                  <a:pt x="184261" y="24231"/>
                  <a:pt x="171136" y="8582"/>
                  <a:pt x="145894" y="8582"/>
                </a:cubicBezTo>
                <a:cubicBezTo>
                  <a:pt x="110557" y="8582"/>
                  <a:pt x="93897" y="54016"/>
                  <a:pt x="93897" y="112575"/>
                </a:cubicBezTo>
                <a:cubicBezTo>
                  <a:pt x="93897" y="181737"/>
                  <a:pt x="124692" y="218589"/>
                  <a:pt x="171640" y="218589"/>
                </a:cubicBezTo>
                <a:cubicBezTo>
                  <a:pt x="200415" y="218589"/>
                  <a:pt x="226666" y="204958"/>
                  <a:pt x="242316" y="173659"/>
                </a:cubicBezTo>
                <a:lnTo>
                  <a:pt x="245345" y="175174"/>
                </a:lnTo>
                <a:cubicBezTo>
                  <a:pt x="231210" y="229190"/>
                  <a:pt x="185775" y="259984"/>
                  <a:pt x="129740" y="259984"/>
                </a:cubicBezTo>
                <a:cubicBezTo>
                  <a:pt x="60074" y="259984"/>
                  <a:pt x="0" y="213036"/>
                  <a:pt x="0" y="134788"/>
                </a:cubicBezTo>
                <a:cubicBezTo>
                  <a:pt x="0" y="49977"/>
                  <a:pt x="63608" y="0"/>
                  <a:pt x="144885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6" name="TextBox 65"/>
          <p:cNvSpPr txBox="1">
            <a:spLocks/>
          </p:cNvSpPr>
          <p:nvPr/>
        </p:nvSpPr>
        <p:spPr>
          <a:xfrm>
            <a:off x="11375209" y="691818"/>
            <a:ext cx="116062" cy="119752"/>
          </a:xfrm>
          <a:custGeom>
            <a:avLst/>
            <a:gdLst/>
            <a:ahLst/>
            <a:cxnLst/>
            <a:rect l="l" t="t" r="r" b="b"/>
            <a:pathLst>
              <a:path w="251908" h="259984">
                <a:moveTo>
                  <a:pt x="132264" y="0"/>
                </a:moveTo>
                <a:cubicBezTo>
                  <a:pt x="213541" y="0"/>
                  <a:pt x="251908" y="51996"/>
                  <a:pt x="251908" y="118633"/>
                </a:cubicBezTo>
                <a:lnTo>
                  <a:pt x="91373" y="118633"/>
                </a:lnTo>
                <a:cubicBezTo>
                  <a:pt x="91373" y="181232"/>
                  <a:pt x="124187" y="218589"/>
                  <a:pt x="172650" y="218589"/>
                </a:cubicBezTo>
                <a:cubicBezTo>
                  <a:pt x="203444" y="218589"/>
                  <a:pt x="230200" y="204958"/>
                  <a:pt x="245850" y="173659"/>
                </a:cubicBezTo>
                <a:lnTo>
                  <a:pt x="249383" y="175174"/>
                </a:lnTo>
                <a:cubicBezTo>
                  <a:pt x="234744" y="229190"/>
                  <a:pt x="189309" y="259984"/>
                  <a:pt x="131759" y="259984"/>
                </a:cubicBezTo>
                <a:cubicBezTo>
                  <a:pt x="59569" y="259984"/>
                  <a:pt x="0" y="212531"/>
                  <a:pt x="0" y="130244"/>
                </a:cubicBezTo>
                <a:cubicBezTo>
                  <a:pt x="0" y="50987"/>
                  <a:pt x="60074" y="0"/>
                  <a:pt x="132264" y="0"/>
                </a:cubicBezTo>
                <a:close/>
                <a:moveTo>
                  <a:pt x="132264" y="8582"/>
                </a:moveTo>
                <a:cubicBezTo>
                  <a:pt x="106013" y="8582"/>
                  <a:pt x="92888" y="48463"/>
                  <a:pt x="91878" y="108032"/>
                </a:cubicBezTo>
                <a:lnTo>
                  <a:pt x="165078" y="108032"/>
                </a:lnTo>
                <a:cubicBezTo>
                  <a:pt x="165078" y="51492"/>
                  <a:pt x="161039" y="8582"/>
                  <a:pt x="132264" y="85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7" name="TextBox 66"/>
          <p:cNvSpPr txBox="1">
            <a:spLocks/>
          </p:cNvSpPr>
          <p:nvPr/>
        </p:nvSpPr>
        <p:spPr>
          <a:xfrm>
            <a:off x="11176798" y="694143"/>
            <a:ext cx="64892" cy="115102"/>
          </a:xfrm>
          <a:custGeom>
            <a:avLst/>
            <a:gdLst/>
            <a:ahLst/>
            <a:cxnLst/>
            <a:rect l="l" t="t" r="r" b="b"/>
            <a:pathLst>
              <a:path w="140846" h="249888">
                <a:moveTo>
                  <a:pt x="0" y="0"/>
                </a:moveTo>
                <a:lnTo>
                  <a:pt x="117119" y="0"/>
                </a:lnTo>
                <a:lnTo>
                  <a:pt x="117119" y="194862"/>
                </a:lnTo>
                <a:cubicBezTo>
                  <a:pt x="117119" y="228181"/>
                  <a:pt x="118633" y="234743"/>
                  <a:pt x="140846" y="248878"/>
                </a:cubicBezTo>
                <a:lnTo>
                  <a:pt x="140846" y="249888"/>
                </a:lnTo>
                <a:lnTo>
                  <a:pt x="3029" y="249888"/>
                </a:lnTo>
                <a:lnTo>
                  <a:pt x="3029" y="248878"/>
                </a:lnTo>
                <a:cubicBezTo>
                  <a:pt x="25241" y="234743"/>
                  <a:pt x="26755" y="228181"/>
                  <a:pt x="26755" y="194862"/>
                </a:cubicBezTo>
                <a:lnTo>
                  <a:pt x="26755" y="56035"/>
                </a:lnTo>
                <a:cubicBezTo>
                  <a:pt x="26755" y="21707"/>
                  <a:pt x="23726" y="14640"/>
                  <a:pt x="0" y="1009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8" name="TextBox 67"/>
          <p:cNvSpPr txBox="1">
            <a:spLocks/>
          </p:cNvSpPr>
          <p:nvPr/>
        </p:nvSpPr>
        <p:spPr>
          <a:xfrm>
            <a:off x="11298619" y="842827"/>
            <a:ext cx="149090" cy="167421"/>
          </a:xfrm>
          <a:custGeom>
            <a:avLst/>
            <a:gdLst/>
            <a:ahLst/>
            <a:cxnLst/>
            <a:rect l="l" t="t" r="r" b="b"/>
            <a:pathLst>
              <a:path w="323593" h="363474">
                <a:moveTo>
                  <a:pt x="190319" y="0"/>
                </a:moveTo>
                <a:cubicBezTo>
                  <a:pt x="236258" y="0"/>
                  <a:pt x="260994" y="15145"/>
                  <a:pt x="277653" y="15145"/>
                </a:cubicBezTo>
                <a:cubicBezTo>
                  <a:pt x="291284" y="15145"/>
                  <a:pt x="299866" y="9087"/>
                  <a:pt x="310467" y="0"/>
                </a:cubicBezTo>
                <a:lnTo>
                  <a:pt x="314001" y="120149"/>
                </a:lnTo>
                <a:lnTo>
                  <a:pt x="312991" y="120149"/>
                </a:lnTo>
                <a:cubicBezTo>
                  <a:pt x="287750" y="56541"/>
                  <a:pt x="250393" y="11107"/>
                  <a:pt x="199910" y="11107"/>
                </a:cubicBezTo>
                <a:cubicBezTo>
                  <a:pt x="137312" y="11107"/>
                  <a:pt x="101974" y="80268"/>
                  <a:pt x="101974" y="164573"/>
                </a:cubicBezTo>
                <a:cubicBezTo>
                  <a:pt x="101974" y="260490"/>
                  <a:pt x="155486" y="315011"/>
                  <a:pt x="221113" y="315011"/>
                </a:cubicBezTo>
                <a:cubicBezTo>
                  <a:pt x="263014" y="315011"/>
                  <a:pt x="297846" y="300371"/>
                  <a:pt x="320564" y="252918"/>
                </a:cubicBezTo>
                <a:lnTo>
                  <a:pt x="323593" y="253927"/>
                </a:lnTo>
                <a:cubicBezTo>
                  <a:pt x="306428" y="321574"/>
                  <a:pt x="252412" y="363474"/>
                  <a:pt x="173660" y="363474"/>
                </a:cubicBezTo>
                <a:cubicBezTo>
                  <a:pt x="74209" y="363474"/>
                  <a:pt x="0" y="293304"/>
                  <a:pt x="0" y="186786"/>
                </a:cubicBezTo>
                <a:cubicBezTo>
                  <a:pt x="0" y="76229"/>
                  <a:pt x="85820" y="0"/>
                  <a:pt x="190319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9" name="TextBox 68"/>
          <p:cNvSpPr txBox="1">
            <a:spLocks/>
          </p:cNvSpPr>
          <p:nvPr/>
        </p:nvSpPr>
        <p:spPr>
          <a:xfrm>
            <a:off x="11640919" y="842827"/>
            <a:ext cx="167232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0" name="TextBox 69"/>
          <p:cNvSpPr txBox="1">
            <a:spLocks/>
          </p:cNvSpPr>
          <p:nvPr/>
        </p:nvSpPr>
        <p:spPr>
          <a:xfrm>
            <a:off x="11457735" y="843060"/>
            <a:ext cx="172117" cy="164863"/>
          </a:xfrm>
          <a:custGeom>
            <a:avLst/>
            <a:gdLst/>
            <a:ahLst/>
            <a:cxnLst/>
            <a:rect l="l" t="t" r="r" b="b"/>
            <a:pathLst>
              <a:path w="373571" h="357921">
                <a:moveTo>
                  <a:pt x="17164" y="0"/>
                </a:moveTo>
                <a:cubicBezTo>
                  <a:pt x="24232" y="3534"/>
                  <a:pt x="35338" y="4544"/>
                  <a:pt x="52502" y="4544"/>
                </a:cubicBezTo>
                <a:lnTo>
                  <a:pt x="321069" y="4544"/>
                </a:lnTo>
                <a:cubicBezTo>
                  <a:pt x="338233" y="4544"/>
                  <a:pt x="349339" y="3534"/>
                  <a:pt x="356407" y="0"/>
                </a:cubicBezTo>
                <a:lnTo>
                  <a:pt x="373571" y="119644"/>
                </a:lnTo>
                <a:lnTo>
                  <a:pt x="372561" y="119644"/>
                </a:lnTo>
                <a:cubicBezTo>
                  <a:pt x="329651" y="50988"/>
                  <a:pt x="309963" y="17669"/>
                  <a:pt x="255946" y="17669"/>
                </a:cubicBezTo>
                <a:lnTo>
                  <a:pt x="234239" y="17669"/>
                </a:lnTo>
                <a:lnTo>
                  <a:pt x="234239" y="297847"/>
                </a:lnTo>
                <a:cubicBezTo>
                  <a:pt x="234239" y="331165"/>
                  <a:pt x="240802" y="342272"/>
                  <a:pt x="263014" y="356912"/>
                </a:cubicBezTo>
                <a:lnTo>
                  <a:pt x="263014" y="357921"/>
                </a:lnTo>
                <a:lnTo>
                  <a:pt x="110557" y="357921"/>
                </a:lnTo>
                <a:lnTo>
                  <a:pt x="110557" y="356912"/>
                </a:lnTo>
                <a:cubicBezTo>
                  <a:pt x="133274" y="342272"/>
                  <a:pt x="139332" y="331165"/>
                  <a:pt x="139332" y="297847"/>
                </a:cubicBezTo>
                <a:lnTo>
                  <a:pt x="139332" y="17669"/>
                </a:lnTo>
                <a:lnTo>
                  <a:pt x="117624" y="17669"/>
                </a:lnTo>
                <a:cubicBezTo>
                  <a:pt x="63608" y="17669"/>
                  <a:pt x="43920" y="50988"/>
                  <a:pt x="1010" y="119644"/>
                </a:cubicBezTo>
                <a:lnTo>
                  <a:pt x="0" y="119644"/>
                </a:lnTo>
                <a:lnTo>
                  <a:pt x="17164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11001879" y="849615"/>
            <a:ext cx="276881" cy="61257"/>
            <a:chOff x="10999013" y="849614"/>
            <a:chExt cx="276809" cy="61257"/>
          </a:xfrm>
          <a:solidFill>
            <a:schemeClr val="accent3"/>
          </a:solidFill>
        </p:grpSpPr>
        <p:sp>
          <p:nvSpPr>
            <p:cNvPr id="71" name="TextBox 70"/>
            <p:cNvSpPr txBox="1">
              <a:spLocks/>
            </p:cNvSpPr>
            <p:nvPr/>
          </p:nvSpPr>
          <p:spPr>
            <a:xfrm>
              <a:off x="10999013" y="849614"/>
              <a:ext cx="60220" cy="61257"/>
            </a:xfrm>
            <a:custGeom>
              <a:avLst/>
              <a:gdLst/>
              <a:ahLst/>
              <a:cxnLst/>
              <a:rect l="l" t="t" r="r" b="b"/>
              <a:pathLst>
                <a:path w="130738" h="132991">
                  <a:moveTo>
                    <a:pt x="65709" y="0"/>
                  </a:moveTo>
                  <a:cubicBezTo>
                    <a:pt x="86122" y="0"/>
                    <a:pt x="102063" y="5891"/>
                    <a:pt x="113533" y="17673"/>
                  </a:cubicBezTo>
                  <a:cubicBezTo>
                    <a:pt x="125003" y="29455"/>
                    <a:pt x="130738" y="45715"/>
                    <a:pt x="130738" y="66451"/>
                  </a:cubicBezTo>
                  <a:cubicBezTo>
                    <a:pt x="130738" y="87129"/>
                    <a:pt x="124987" y="103389"/>
                    <a:pt x="113485" y="115230"/>
                  </a:cubicBezTo>
                  <a:cubicBezTo>
                    <a:pt x="101982" y="127071"/>
                    <a:pt x="85992" y="132991"/>
                    <a:pt x="65515" y="132991"/>
                  </a:cubicBezTo>
                  <a:cubicBezTo>
                    <a:pt x="44584" y="132991"/>
                    <a:pt x="28432" y="127174"/>
                    <a:pt x="17059" y="115539"/>
                  </a:cubicBezTo>
                  <a:cubicBezTo>
                    <a:pt x="5686" y="103904"/>
                    <a:pt x="0" y="87483"/>
                    <a:pt x="0" y="66275"/>
                  </a:cubicBezTo>
                  <a:cubicBezTo>
                    <a:pt x="0" y="45243"/>
                    <a:pt x="5702" y="28940"/>
                    <a:pt x="17107" y="17364"/>
                  </a:cubicBezTo>
                  <a:cubicBezTo>
                    <a:pt x="28513" y="5788"/>
                    <a:pt x="44713" y="0"/>
                    <a:pt x="65709" y="0"/>
                  </a:cubicBezTo>
                  <a:close/>
                  <a:moveTo>
                    <a:pt x="65709" y="13431"/>
                  </a:moveTo>
                  <a:cubicBezTo>
                    <a:pt x="49962" y="13431"/>
                    <a:pt x="37990" y="17953"/>
                    <a:pt x="29793" y="26996"/>
                  </a:cubicBezTo>
                  <a:cubicBezTo>
                    <a:pt x="21595" y="36038"/>
                    <a:pt x="17496" y="49190"/>
                    <a:pt x="17496" y="66451"/>
                  </a:cubicBezTo>
                  <a:cubicBezTo>
                    <a:pt x="17496" y="83948"/>
                    <a:pt x="21595" y="97218"/>
                    <a:pt x="29793" y="106261"/>
                  </a:cubicBezTo>
                  <a:cubicBezTo>
                    <a:pt x="37990" y="115303"/>
                    <a:pt x="49897" y="119825"/>
                    <a:pt x="65515" y="119825"/>
                  </a:cubicBezTo>
                  <a:cubicBezTo>
                    <a:pt x="81262" y="119825"/>
                    <a:pt x="93153" y="115318"/>
                    <a:pt x="101188" y="106305"/>
                  </a:cubicBezTo>
                  <a:cubicBezTo>
                    <a:pt x="109224" y="97291"/>
                    <a:pt x="113242" y="84007"/>
                    <a:pt x="113242" y="66451"/>
                  </a:cubicBezTo>
                  <a:cubicBezTo>
                    <a:pt x="113242" y="49073"/>
                    <a:pt x="109240" y="35891"/>
                    <a:pt x="101237" y="26907"/>
                  </a:cubicBezTo>
                  <a:cubicBezTo>
                    <a:pt x="93234" y="17923"/>
                    <a:pt x="81391" y="13431"/>
                    <a:pt x="65709" y="13431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2" name="TextBox 71"/>
            <p:cNvSpPr txBox="1">
              <a:spLocks/>
            </p:cNvSpPr>
            <p:nvPr/>
          </p:nvSpPr>
          <p:spPr>
            <a:xfrm>
              <a:off x="11068225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60620"/>
                  </a:lnTo>
                  <a:lnTo>
                    <a:pt x="75430" y="60620"/>
                  </a:lnTo>
                  <a:lnTo>
                    <a:pt x="75430" y="73963"/>
                  </a:lnTo>
                  <a:lnTo>
                    <a:pt x="16525" y="73963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3" name="TextBox 72"/>
            <p:cNvSpPr txBox="1">
              <a:spLocks/>
            </p:cNvSpPr>
            <p:nvPr/>
          </p:nvSpPr>
          <p:spPr>
            <a:xfrm>
              <a:off x="11121455" y="850549"/>
              <a:ext cx="49071" cy="59507"/>
            </a:xfrm>
            <a:custGeom>
              <a:avLst/>
              <a:gdLst/>
              <a:ahLst/>
              <a:cxnLst/>
              <a:rect l="l" t="t" r="r" b="b"/>
              <a:pathLst>
                <a:path w="106535" h="129192">
                  <a:moveTo>
                    <a:pt x="0" y="0"/>
                  </a:moveTo>
                  <a:lnTo>
                    <a:pt x="106535" y="0"/>
                  </a:lnTo>
                  <a:lnTo>
                    <a:pt x="106535" y="13343"/>
                  </a:lnTo>
                  <a:lnTo>
                    <a:pt x="61530" y="13343"/>
                  </a:lnTo>
                  <a:lnTo>
                    <a:pt x="61530" y="129192"/>
                  </a:lnTo>
                  <a:lnTo>
                    <a:pt x="45005" y="129192"/>
                  </a:lnTo>
                  <a:lnTo>
                    <a:pt x="45005" y="13343"/>
                  </a:lnTo>
                  <a:lnTo>
                    <a:pt x="0" y="1334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4" name="TextBox 73"/>
            <p:cNvSpPr txBox="1">
              <a:spLocks/>
            </p:cNvSpPr>
            <p:nvPr/>
          </p:nvSpPr>
          <p:spPr>
            <a:xfrm>
              <a:off x="11177909" y="850549"/>
              <a:ext cx="49698" cy="59507"/>
            </a:xfrm>
            <a:custGeom>
              <a:avLst/>
              <a:gdLst/>
              <a:ahLst/>
              <a:cxnLst/>
              <a:rect l="l" t="t" r="r" b="b"/>
              <a:pathLst>
                <a:path w="107896" h="129192">
                  <a:moveTo>
                    <a:pt x="0" y="0"/>
                  </a:moveTo>
                  <a:lnTo>
                    <a:pt x="16525" y="0"/>
                  </a:lnTo>
                  <a:lnTo>
                    <a:pt x="16525" y="54964"/>
                  </a:lnTo>
                  <a:lnTo>
                    <a:pt x="91371" y="54964"/>
                  </a:lnTo>
                  <a:lnTo>
                    <a:pt x="91371" y="0"/>
                  </a:lnTo>
                  <a:lnTo>
                    <a:pt x="107896" y="0"/>
                  </a:lnTo>
                  <a:lnTo>
                    <a:pt x="107896" y="129192"/>
                  </a:lnTo>
                  <a:lnTo>
                    <a:pt x="91371" y="129192"/>
                  </a:lnTo>
                  <a:lnTo>
                    <a:pt x="91371" y="68396"/>
                  </a:lnTo>
                  <a:lnTo>
                    <a:pt x="16525" y="68396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5" name="TextBox 74"/>
            <p:cNvSpPr txBox="1">
              <a:spLocks/>
            </p:cNvSpPr>
            <p:nvPr/>
          </p:nvSpPr>
          <p:spPr>
            <a:xfrm>
              <a:off x="11239332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54964"/>
                  </a:lnTo>
                  <a:lnTo>
                    <a:pt x="75430" y="54964"/>
                  </a:lnTo>
                  <a:lnTo>
                    <a:pt x="75430" y="68219"/>
                  </a:lnTo>
                  <a:lnTo>
                    <a:pt x="16525" y="68219"/>
                  </a:lnTo>
                  <a:lnTo>
                    <a:pt x="16525" y="115760"/>
                  </a:lnTo>
                  <a:lnTo>
                    <a:pt x="79221" y="115760"/>
                  </a:lnTo>
                  <a:lnTo>
                    <a:pt x="79221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62" name="Freeform 9"/>
          <p:cNvSpPr>
            <a:spLocks noEditPoints="1"/>
          </p:cNvSpPr>
          <p:nvPr/>
        </p:nvSpPr>
        <p:spPr bwMode="auto">
          <a:xfrm>
            <a:off x="10579888" y="371026"/>
            <a:ext cx="1417689" cy="783522"/>
          </a:xfrm>
          <a:custGeom>
            <a:avLst/>
            <a:gdLst>
              <a:gd name="T0" fmla="*/ 279 w 326"/>
              <a:gd name="T1" fmla="*/ 180 h 180"/>
              <a:gd name="T2" fmla="*/ 271 w 326"/>
              <a:gd name="T3" fmla="*/ 179 h 180"/>
              <a:gd name="T4" fmla="*/ 45 w 326"/>
              <a:gd name="T5" fmla="*/ 179 h 180"/>
              <a:gd name="T6" fmla="*/ 6 w 326"/>
              <a:gd name="T7" fmla="*/ 153 h 180"/>
              <a:gd name="T8" fmla="*/ 0 w 326"/>
              <a:gd name="T9" fmla="*/ 129 h 180"/>
              <a:gd name="T10" fmla="*/ 32 w 326"/>
              <a:gd name="T11" fmla="*/ 82 h 180"/>
              <a:gd name="T12" fmla="*/ 30 w 326"/>
              <a:gd name="T13" fmla="*/ 70 h 180"/>
              <a:gd name="T14" fmla="*/ 100 w 326"/>
              <a:gd name="T15" fmla="*/ 0 h 180"/>
              <a:gd name="T16" fmla="*/ 154 w 326"/>
              <a:gd name="T17" fmla="*/ 26 h 180"/>
              <a:gd name="T18" fmla="*/ 187 w 326"/>
              <a:gd name="T19" fmla="*/ 16 h 180"/>
              <a:gd name="T20" fmla="*/ 242 w 326"/>
              <a:gd name="T21" fmla="*/ 55 h 180"/>
              <a:gd name="T22" fmla="*/ 245 w 326"/>
              <a:gd name="T23" fmla="*/ 54 h 180"/>
              <a:gd name="T24" fmla="*/ 280 w 326"/>
              <a:gd name="T25" fmla="*/ 85 h 180"/>
              <a:gd name="T26" fmla="*/ 326 w 326"/>
              <a:gd name="T27" fmla="*/ 132 h 180"/>
              <a:gd name="T28" fmla="*/ 279 w 326"/>
              <a:gd name="T29" fmla="*/ 180 h 180"/>
              <a:gd name="T30" fmla="*/ 100 w 326"/>
              <a:gd name="T31" fmla="*/ 4 h 180"/>
              <a:gd name="T32" fmla="*/ 34 w 326"/>
              <a:gd name="T33" fmla="*/ 70 h 180"/>
              <a:gd name="T34" fmla="*/ 36 w 326"/>
              <a:gd name="T35" fmla="*/ 83 h 180"/>
              <a:gd name="T36" fmla="*/ 36 w 326"/>
              <a:gd name="T37" fmla="*/ 85 h 180"/>
              <a:gd name="T38" fmla="*/ 35 w 326"/>
              <a:gd name="T39" fmla="*/ 86 h 180"/>
              <a:gd name="T40" fmla="*/ 4 w 326"/>
              <a:gd name="T41" fmla="*/ 129 h 180"/>
              <a:gd name="T42" fmla="*/ 10 w 326"/>
              <a:gd name="T43" fmla="*/ 151 h 180"/>
              <a:gd name="T44" fmla="*/ 10 w 326"/>
              <a:gd name="T45" fmla="*/ 151 h 180"/>
              <a:gd name="T46" fmla="*/ 45 w 326"/>
              <a:gd name="T47" fmla="*/ 175 h 180"/>
              <a:gd name="T48" fmla="*/ 271 w 326"/>
              <a:gd name="T49" fmla="*/ 175 h 180"/>
              <a:gd name="T50" fmla="*/ 272 w 326"/>
              <a:gd name="T51" fmla="*/ 175 h 180"/>
              <a:gd name="T52" fmla="*/ 279 w 326"/>
              <a:gd name="T53" fmla="*/ 176 h 180"/>
              <a:gd name="T54" fmla="*/ 322 w 326"/>
              <a:gd name="T55" fmla="*/ 132 h 180"/>
              <a:gd name="T56" fmla="*/ 279 w 326"/>
              <a:gd name="T57" fmla="*/ 89 h 180"/>
              <a:gd name="T58" fmla="*/ 278 w 326"/>
              <a:gd name="T59" fmla="*/ 89 h 180"/>
              <a:gd name="T60" fmla="*/ 276 w 326"/>
              <a:gd name="T61" fmla="*/ 89 h 180"/>
              <a:gd name="T62" fmla="*/ 276 w 326"/>
              <a:gd name="T63" fmla="*/ 87 h 180"/>
              <a:gd name="T64" fmla="*/ 245 w 326"/>
              <a:gd name="T65" fmla="*/ 58 h 180"/>
              <a:gd name="T66" fmla="*/ 240 w 326"/>
              <a:gd name="T67" fmla="*/ 59 h 180"/>
              <a:gd name="T68" fmla="*/ 239 w 326"/>
              <a:gd name="T69" fmla="*/ 59 h 180"/>
              <a:gd name="T70" fmla="*/ 238 w 326"/>
              <a:gd name="T71" fmla="*/ 57 h 180"/>
              <a:gd name="T72" fmla="*/ 187 w 326"/>
              <a:gd name="T73" fmla="*/ 20 h 180"/>
              <a:gd name="T74" fmla="*/ 155 w 326"/>
              <a:gd name="T75" fmla="*/ 30 h 180"/>
              <a:gd name="T76" fmla="*/ 153 w 326"/>
              <a:gd name="T77" fmla="*/ 31 h 180"/>
              <a:gd name="T78" fmla="*/ 152 w 326"/>
              <a:gd name="T79" fmla="*/ 30 h 180"/>
              <a:gd name="T80" fmla="*/ 100 w 326"/>
              <a:gd name="T81" fmla="*/ 4 h 1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326" h="180">
                <a:moveTo>
                  <a:pt x="279" y="180"/>
                </a:moveTo>
                <a:cubicBezTo>
                  <a:pt x="276" y="180"/>
                  <a:pt x="274" y="179"/>
                  <a:pt x="271" y="179"/>
                </a:cubicBezTo>
                <a:cubicBezTo>
                  <a:pt x="45" y="179"/>
                  <a:pt x="45" y="179"/>
                  <a:pt x="45" y="179"/>
                </a:cubicBezTo>
                <a:cubicBezTo>
                  <a:pt x="28" y="179"/>
                  <a:pt x="13" y="169"/>
                  <a:pt x="6" y="153"/>
                </a:cubicBezTo>
                <a:cubicBezTo>
                  <a:pt x="2" y="146"/>
                  <a:pt x="0" y="137"/>
                  <a:pt x="0" y="129"/>
                </a:cubicBezTo>
                <a:cubicBezTo>
                  <a:pt x="0" y="109"/>
                  <a:pt x="13" y="90"/>
                  <a:pt x="32" y="82"/>
                </a:cubicBezTo>
                <a:cubicBezTo>
                  <a:pt x="31" y="78"/>
                  <a:pt x="30" y="74"/>
                  <a:pt x="30" y="70"/>
                </a:cubicBezTo>
                <a:cubicBezTo>
                  <a:pt x="30" y="32"/>
                  <a:pt x="62" y="0"/>
                  <a:pt x="100" y="0"/>
                </a:cubicBezTo>
                <a:cubicBezTo>
                  <a:pt x="121" y="0"/>
                  <a:pt x="141" y="10"/>
                  <a:pt x="154" y="26"/>
                </a:cubicBezTo>
                <a:cubicBezTo>
                  <a:pt x="164" y="19"/>
                  <a:pt x="175" y="16"/>
                  <a:pt x="187" y="16"/>
                </a:cubicBezTo>
                <a:cubicBezTo>
                  <a:pt x="212" y="16"/>
                  <a:pt x="233" y="31"/>
                  <a:pt x="242" y="55"/>
                </a:cubicBezTo>
                <a:cubicBezTo>
                  <a:pt x="243" y="54"/>
                  <a:pt x="244" y="54"/>
                  <a:pt x="245" y="54"/>
                </a:cubicBezTo>
                <a:cubicBezTo>
                  <a:pt x="263" y="54"/>
                  <a:pt x="278" y="68"/>
                  <a:pt x="280" y="85"/>
                </a:cubicBezTo>
                <a:cubicBezTo>
                  <a:pt x="305" y="86"/>
                  <a:pt x="326" y="107"/>
                  <a:pt x="326" y="132"/>
                </a:cubicBezTo>
                <a:cubicBezTo>
                  <a:pt x="326" y="158"/>
                  <a:pt x="305" y="180"/>
                  <a:pt x="279" y="180"/>
                </a:cubicBezTo>
                <a:close/>
                <a:moveTo>
                  <a:pt x="100" y="4"/>
                </a:moveTo>
                <a:cubicBezTo>
                  <a:pt x="64" y="4"/>
                  <a:pt x="34" y="34"/>
                  <a:pt x="34" y="70"/>
                </a:cubicBezTo>
                <a:cubicBezTo>
                  <a:pt x="34" y="75"/>
                  <a:pt x="35" y="79"/>
                  <a:pt x="36" y="83"/>
                </a:cubicBezTo>
                <a:cubicBezTo>
                  <a:pt x="36" y="85"/>
                  <a:pt x="36" y="85"/>
                  <a:pt x="36" y="85"/>
                </a:cubicBezTo>
                <a:cubicBezTo>
                  <a:pt x="35" y="86"/>
                  <a:pt x="35" y="86"/>
                  <a:pt x="35" y="86"/>
                </a:cubicBezTo>
                <a:cubicBezTo>
                  <a:pt x="16" y="92"/>
                  <a:pt x="4" y="110"/>
                  <a:pt x="4" y="129"/>
                </a:cubicBezTo>
                <a:cubicBezTo>
                  <a:pt x="4" y="137"/>
                  <a:pt x="6" y="144"/>
                  <a:pt x="10" y="151"/>
                </a:cubicBezTo>
                <a:cubicBezTo>
                  <a:pt x="10" y="151"/>
                  <a:pt x="10" y="151"/>
                  <a:pt x="10" y="151"/>
                </a:cubicBezTo>
                <a:cubicBezTo>
                  <a:pt x="16" y="166"/>
                  <a:pt x="30" y="175"/>
                  <a:pt x="45" y="175"/>
                </a:cubicBezTo>
                <a:cubicBezTo>
                  <a:pt x="271" y="175"/>
                  <a:pt x="271" y="175"/>
                  <a:pt x="271" y="175"/>
                </a:cubicBezTo>
                <a:cubicBezTo>
                  <a:pt x="272" y="175"/>
                  <a:pt x="272" y="175"/>
                  <a:pt x="272" y="175"/>
                </a:cubicBezTo>
                <a:cubicBezTo>
                  <a:pt x="274" y="175"/>
                  <a:pt x="276" y="176"/>
                  <a:pt x="279" y="176"/>
                </a:cubicBezTo>
                <a:cubicBezTo>
                  <a:pt x="303" y="176"/>
                  <a:pt x="322" y="156"/>
                  <a:pt x="322" y="132"/>
                </a:cubicBezTo>
                <a:cubicBezTo>
                  <a:pt x="322" y="109"/>
                  <a:pt x="303" y="89"/>
                  <a:pt x="279" y="89"/>
                </a:cubicBezTo>
                <a:cubicBezTo>
                  <a:pt x="279" y="89"/>
                  <a:pt x="278" y="89"/>
                  <a:pt x="278" y="89"/>
                </a:cubicBezTo>
                <a:cubicBezTo>
                  <a:pt x="276" y="89"/>
                  <a:pt x="276" y="89"/>
                  <a:pt x="276" y="89"/>
                </a:cubicBezTo>
                <a:cubicBezTo>
                  <a:pt x="276" y="87"/>
                  <a:pt x="276" y="87"/>
                  <a:pt x="276" y="87"/>
                </a:cubicBezTo>
                <a:cubicBezTo>
                  <a:pt x="275" y="71"/>
                  <a:pt x="261" y="58"/>
                  <a:pt x="245" y="58"/>
                </a:cubicBezTo>
                <a:cubicBezTo>
                  <a:pt x="243" y="58"/>
                  <a:pt x="242" y="59"/>
                  <a:pt x="240" y="59"/>
                </a:cubicBezTo>
                <a:cubicBezTo>
                  <a:pt x="239" y="59"/>
                  <a:pt x="239" y="59"/>
                  <a:pt x="239" y="59"/>
                </a:cubicBezTo>
                <a:cubicBezTo>
                  <a:pt x="238" y="57"/>
                  <a:pt x="238" y="57"/>
                  <a:pt x="238" y="57"/>
                </a:cubicBezTo>
                <a:cubicBezTo>
                  <a:pt x="231" y="35"/>
                  <a:pt x="210" y="20"/>
                  <a:pt x="187" y="20"/>
                </a:cubicBezTo>
                <a:cubicBezTo>
                  <a:pt x="175" y="20"/>
                  <a:pt x="164" y="23"/>
                  <a:pt x="155" y="30"/>
                </a:cubicBezTo>
                <a:cubicBezTo>
                  <a:pt x="153" y="31"/>
                  <a:pt x="153" y="31"/>
                  <a:pt x="153" y="31"/>
                </a:cubicBezTo>
                <a:cubicBezTo>
                  <a:pt x="152" y="30"/>
                  <a:pt x="152" y="30"/>
                  <a:pt x="152" y="30"/>
                </a:cubicBezTo>
                <a:cubicBezTo>
                  <a:pt x="139" y="14"/>
                  <a:pt x="121" y="4"/>
                  <a:pt x="100" y="4"/>
                </a:cubicBezTo>
                <a:close/>
              </a:path>
            </a:pathLst>
          </a:custGeom>
          <a:solidFill>
            <a:srgbClr val="34697F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4" name="Content Placeholder 8"/>
          <p:cNvSpPr txBox="1">
            <a:spLocks/>
          </p:cNvSpPr>
          <p:nvPr userDrawn="1"/>
        </p:nvSpPr>
        <p:spPr>
          <a:xfrm>
            <a:off x="11104408" y="6418626"/>
            <a:ext cx="734493" cy="22860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000" dirty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  <a:fld id="{38743595-4496-5147-A886-7D133864DF76}" type="slidenum">
              <a:rPr lang="en-US" sz="1000" smtClean="0">
                <a:solidFill>
                  <a:srgbClr val="3F3F3F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r"/>
              <a:t>‹#›</a:t>
            </a:fld>
            <a:endParaRPr lang="en-US" sz="1000" dirty="0"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5" name="MSIPCMContentMarking" descr="{&quot;HashCode&quot;:-356254672,&quot;Placement&quot;:&quot;Footer&quot;}">
            <a:extLst>
              <a:ext uri="{FF2B5EF4-FFF2-40B4-BE49-F238E27FC236}">
                <a16:creationId xmlns:a16="http://schemas.microsoft.com/office/drawing/2014/main" xmlns="" id="{B869DC3D-CEDB-48B8-8C95-B8965AA1143A}"/>
              </a:ext>
            </a:extLst>
          </p:cNvPr>
          <p:cNvSpPr txBox="1"/>
          <p:nvPr userDrawn="1"/>
        </p:nvSpPr>
        <p:spPr>
          <a:xfrm>
            <a:off x="10717460" y="6413372"/>
            <a:ext cx="709344" cy="228163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noAutofit/>
          </a:bodyPr>
          <a:lstStyle/>
          <a:p>
            <a:pPr algn="l" defTabSz="456758" fontAlgn="base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41414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oprietary</a:t>
            </a:r>
            <a:endParaRPr lang="en-US" sz="800" dirty="0" err="1">
              <a:solidFill>
                <a:srgbClr val="41414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6" name="Rectangle 25"/>
          <p:cNvSpPr/>
          <p:nvPr userDrawn="1"/>
        </p:nvSpPr>
        <p:spPr>
          <a:xfrm>
            <a:off x="8808590" y="1554232"/>
            <a:ext cx="91440" cy="5303521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7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457200" y="2011432"/>
            <a:ext cx="7937863" cy="4162249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Body text</a:t>
            </a: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8"/>
          <p:cNvSpPr txBox="1">
            <a:spLocks/>
          </p:cNvSpPr>
          <p:nvPr/>
        </p:nvSpPr>
        <p:spPr>
          <a:xfrm>
            <a:off x="11104408" y="6418626"/>
            <a:ext cx="734493" cy="22860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000" dirty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  <a:fld id="{38743595-4496-5147-A886-7D133864DF76}" type="slidenum">
              <a:rPr lang="en-US" sz="1000" smtClean="0">
                <a:solidFill>
                  <a:srgbClr val="3F3F3F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r"/>
              <a:t>‹#›</a:t>
            </a:fld>
            <a:endParaRPr lang="en-US" sz="1000" dirty="0"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95740171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8" name="think-cell Slide" r:id="rId15" imgW="471" imgH="470" progId="TCLayout.ActiveDocument.1">
                  <p:embed/>
                </p:oleObj>
              </mc:Choice>
              <mc:Fallback>
                <p:oleObj name="think-cell Slide" r:id="rId15" imgW="471" imgH="470" progId="TCLayout.ActiveDocument.1">
                  <p:embed/>
                  <p:pic>
                    <p:nvPicPr>
                      <p:cNvPr id="11" name="Object 10" hidden="1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MSIPCMContentMarking" descr="{&quot;HashCode&quot;:-356254672,&quot;Placement&quot;:&quot;Footer&quot;}">
            <a:extLst>
              <a:ext uri="{FF2B5EF4-FFF2-40B4-BE49-F238E27FC236}">
                <a16:creationId xmlns:a16="http://schemas.microsoft.com/office/drawing/2014/main" xmlns="" id="{B869DC3D-CEDB-48B8-8C95-B8965AA1143A}"/>
              </a:ext>
            </a:extLst>
          </p:cNvPr>
          <p:cNvSpPr txBox="1"/>
          <p:nvPr/>
        </p:nvSpPr>
        <p:spPr>
          <a:xfrm>
            <a:off x="10717460" y="6413372"/>
            <a:ext cx="709344" cy="228163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noAutofit/>
          </a:bodyPr>
          <a:lstStyle/>
          <a:p>
            <a:pPr algn="l" defTabSz="456758" fontAlgn="base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41414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oprietary</a:t>
            </a:r>
            <a:endParaRPr lang="en-US" sz="800" dirty="0" err="1">
              <a:solidFill>
                <a:srgbClr val="41414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Content Placeholder 8"/>
          <p:cNvSpPr txBox="1">
            <a:spLocks/>
          </p:cNvSpPr>
          <p:nvPr userDrawn="1"/>
        </p:nvSpPr>
        <p:spPr>
          <a:xfrm>
            <a:off x="547922" y="6418626"/>
            <a:ext cx="2383745" cy="2286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sz="800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©2018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xmlns="" id="{970D1A23-D88D-46C3-95E5-B10C224E1CC3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5618496" y="6443197"/>
            <a:ext cx="955009" cy="127570"/>
            <a:chOff x="279400" y="2781300"/>
            <a:chExt cx="8585200" cy="1092200"/>
          </a:xfrm>
        </p:grpSpPr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xmlns="" id="{7365CECB-7D2B-4CF7-BFD3-6752DEC67F25}"/>
                </a:ext>
              </a:extLst>
            </p:cNvPr>
            <p:cNvSpPr>
              <a:spLocks/>
            </p:cNvSpPr>
            <p:nvPr/>
          </p:nvSpPr>
          <p:spPr bwMode="auto">
            <a:xfrm>
              <a:off x="4605338" y="2816225"/>
              <a:ext cx="958850" cy="1035050"/>
            </a:xfrm>
            <a:custGeom>
              <a:avLst/>
              <a:gdLst>
                <a:gd name="T0" fmla="*/ 142 w 604"/>
                <a:gd name="T1" fmla="*/ 272 h 652"/>
                <a:gd name="T2" fmla="*/ 142 w 604"/>
                <a:gd name="T3" fmla="*/ 57 h 652"/>
                <a:gd name="T4" fmla="*/ 206 w 604"/>
                <a:gd name="T5" fmla="*/ 57 h 652"/>
                <a:gd name="T6" fmla="*/ 206 w 604"/>
                <a:gd name="T7" fmla="*/ 0 h 652"/>
                <a:gd name="T8" fmla="*/ 0 w 604"/>
                <a:gd name="T9" fmla="*/ 0 h 652"/>
                <a:gd name="T10" fmla="*/ 0 w 604"/>
                <a:gd name="T11" fmla="*/ 57 h 652"/>
                <a:gd name="T12" fmla="*/ 64 w 604"/>
                <a:gd name="T13" fmla="*/ 57 h 652"/>
                <a:gd name="T14" fmla="*/ 64 w 604"/>
                <a:gd name="T15" fmla="*/ 587 h 652"/>
                <a:gd name="T16" fmla="*/ 0 w 604"/>
                <a:gd name="T17" fmla="*/ 587 h 652"/>
                <a:gd name="T18" fmla="*/ 0 w 604"/>
                <a:gd name="T19" fmla="*/ 652 h 652"/>
                <a:gd name="T20" fmla="*/ 206 w 604"/>
                <a:gd name="T21" fmla="*/ 652 h 652"/>
                <a:gd name="T22" fmla="*/ 206 w 604"/>
                <a:gd name="T23" fmla="*/ 587 h 652"/>
                <a:gd name="T24" fmla="*/ 142 w 604"/>
                <a:gd name="T25" fmla="*/ 587 h 652"/>
                <a:gd name="T26" fmla="*/ 142 w 604"/>
                <a:gd name="T27" fmla="*/ 329 h 652"/>
                <a:gd name="T28" fmla="*/ 462 w 604"/>
                <a:gd name="T29" fmla="*/ 329 h 652"/>
                <a:gd name="T30" fmla="*/ 462 w 604"/>
                <a:gd name="T31" fmla="*/ 587 h 652"/>
                <a:gd name="T32" fmla="*/ 398 w 604"/>
                <a:gd name="T33" fmla="*/ 587 h 652"/>
                <a:gd name="T34" fmla="*/ 398 w 604"/>
                <a:gd name="T35" fmla="*/ 652 h 652"/>
                <a:gd name="T36" fmla="*/ 604 w 604"/>
                <a:gd name="T37" fmla="*/ 652 h 652"/>
                <a:gd name="T38" fmla="*/ 604 w 604"/>
                <a:gd name="T39" fmla="*/ 587 h 652"/>
                <a:gd name="T40" fmla="*/ 540 w 604"/>
                <a:gd name="T41" fmla="*/ 587 h 652"/>
                <a:gd name="T42" fmla="*/ 540 w 604"/>
                <a:gd name="T43" fmla="*/ 57 h 652"/>
                <a:gd name="T44" fmla="*/ 604 w 604"/>
                <a:gd name="T45" fmla="*/ 57 h 652"/>
                <a:gd name="T46" fmla="*/ 604 w 604"/>
                <a:gd name="T47" fmla="*/ 0 h 652"/>
                <a:gd name="T48" fmla="*/ 398 w 604"/>
                <a:gd name="T49" fmla="*/ 0 h 652"/>
                <a:gd name="T50" fmla="*/ 398 w 604"/>
                <a:gd name="T51" fmla="*/ 57 h 652"/>
                <a:gd name="T52" fmla="*/ 462 w 604"/>
                <a:gd name="T53" fmla="*/ 57 h 652"/>
                <a:gd name="T54" fmla="*/ 462 w 604"/>
                <a:gd name="T55" fmla="*/ 272 h 652"/>
                <a:gd name="T56" fmla="*/ 142 w 604"/>
                <a:gd name="T57" fmla="*/ 272 h 6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604" h="652">
                  <a:moveTo>
                    <a:pt x="142" y="272"/>
                  </a:moveTo>
                  <a:lnTo>
                    <a:pt x="142" y="57"/>
                  </a:lnTo>
                  <a:lnTo>
                    <a:pt x="206" y="57"/>
                  </a:lnTo>
                  <a:lnTo>
                    <a:pt x="206" y="0"/>
                  </a:lnTo>
                  <a:lnTo>
                    <a:pt x="0" y="0"/>
                  </a:lnTo>
                  <a:lnTo>
                    <a:pt x="0" y="57"/>
                  </a:lnTo>
                  <a:lnTo>
                    <a:pt x="64" y="57"/>
                  </a:lnTo>
                  <a:lnTo>
                    <a:pt x="64" y="587"/>
                  </a:lnTo>
                  <a:lnTo>
                    <a:pt x="0" y="587"/>
                  </a:lnTo>
                  <a:lnTo>
                    <a:pt x="0" y="652"/>
                  </a:lnTo>
                  <a:lnTo>
                    <a:pt x="206" y="652"/>
                  </a:lnTo>
                  <a:lnTo>
                    <a:pt x="206" y="587"/>
                  </a:lnTo>
                  <a:lnTo>
                    <a:pt x="142" y="587"/>
                  </a:lnTo>
                  <a:lnTo>
                    <a:pt x="142" y="329"/>
                  </a:lnTo>
                  <a:lnTo>
                    <a:pt x="462" y="329"/>
                  </a:lnTo>
                  <a:lnTo>
                    <a:pt x="462" y="587"/>
                  </a:lnTo>
                  <a:lnTo>
                    <a:pt x="398" y="587"/>
                  </a:lnTo>
                  <a:lnTo>
                    <a:pt x="398" y="652"/>
                  </a:lnTo>
                  <a:lnTo>
                    <a:pt x="604" y="652"/>
                  </a:lnTo>
                  <a:lnTo>
                    <a:pt x="604" y="587"/>
                  </a:lnTo>
                  <a:lnTo>
                    <a:pt x="540" y="587"/>
                  </a:lnTo>
                  <a:lnTo>
                    <a:pt x="540" y="57"/>
                  </a:lnTo>
                  <a:lnTo>
                    <a:pt x="604" y="57"/>
                  </a:lnTo>
                  <a:lnTo>
                    <a:pt x="604" y="0"/>
                  </a:lnTo>
                  <a:lnTo>
                    <a:pt x="398" y="0"/>
                  </a:lnTo>
                  <a:lnTo>
                    <a:pt x="398" y="57"/>
                  </a:lnTo>
                  <a:lnTo>
                    <a:pt x="462" y="57"/>
                  </a:lnTo>
                  <a:lnTo>
                    <a:pt x="462" y="272"/>
                  </a:lnTo>
                  <a:lnTo>
                    <a:pt x="142" y="27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xmlns="" id="{7111873F-5B39-42DE-99F1-E7FC74583C0C}"/>
                </a:ext>
              </a:extLst>
            </p:cNvPr>
            <p:cNvSpPr>
              <a:spLocks/>
            </p:cNvSpPr>
            <p:nvPr/>
          </p:nvSpPr>
          <p:spPr bwMode="auto">
            <a:xfrm>
              <a:off x="8042275" y="2816225"/>
              <a:ext cx="822325" cy="1035050"/>
            </a:xfrm>
            <a:custGeom>
              <a:avLst/>
              <a:gdLst>
                <a:gd name="T0" fmla="*/ 27 w 73"/>
                <a:gd name="T1" fmla="*/ 82 h 91"/>
                <a:gd name="T2" fmla="*/ 19 w 73"/>
                <a:gd name="T3" fmla="*/ 82 h 91"/>
                <a:gd name="T4" fmla="*/ 19 w 73"/>
                <a:gd name="T5" fmla="*/ 54 h 91"/>
                <a:gd name="T6" fmla="*/ 37 w 73"/>
                <a:gd name="T7" fmla="*/ 35 h 91"/>
                <a:gd name="T8" fmla="*/ 55 w 73"/>
                <a:gd name="T9" fmla="*/ 54 h 91"/>
                <a:gd name="T10" fmla="*/ 55 w 73"/>
                <a:gd name="T11" fmla="*/ 82 h 91"/>
                <a:gd name="T12" fmla="*/ 46 w 73"/>
                <a:gd name="T13" fmla="*/ 82 h 91"/>
                <a:gd name="T14" fmla="*/ 46 w 73"/>
                <a:gd name="T15" fmla="*/ 91 h 91"/>
                <a:gd name="T16" fmla="*/ 73 w 73"/>
                <a:gd name="T17" fmla="*/ 91 h 91"/>
                <a:gd name="T18" fmla="*/ 73 w 73"/>
                <a:gd name="T19" fmla="*/ 82 h 91"/>
                <a:gd name="T20" fmla="*/ 65 w 73"/>
                <a:gd name="T21" fmla="*/ 82 h 91"/>
                <a:gd name="T22" fmla="*/ 65 w 73"/>
                <a:gd name="T23" fmla="*/ 54 h 91"/>
                <a:gd name="T24" fmla="*/ 38 w 73"/>
                <a:gd name="T25" fmla="*/ 26 h 91"/>
                <a:gd name="T26" fmla="*/ 19 w 73"/>
                <a:gd name="T27" fmla="*/ 35 h 91"/>
                <a:gd name="T28" fmla="*/ 19 w 73"/>
                <a:gd name="T29" fmla="*/ 0 h 91"/>
                <a:gd name="T30" fmla="*/ 0 w 73"/>
                <a:gd name="T31" fmla="*/ 0 h 91"/>
                <a:gd name="T32" fmla="*/ 0 w 73"/>
                <a:gd name="T33" fmla="*/ 8 h 91"/>
                <a:gd name="T34" fmla="*/ 9 w 73"/>
                <a:gd name="T35" fmla="*/ 8 h 91"/>
                <a:gd name="T36" fmla="*/ 9 w 73"/>
                <a:gd name="T37" fmla="*/ 82 h 91"/>
                <a:gd name="T38" fmla="*/ 0 w 73"/>
                <a:gd name="T39" fmla="*/ 82 h 91"/>
                <a:gd name="T40" fmla="*/ 0 w 73"/>
                <a:gd name="T41" fmla="*/ 91 h 91"/>
                <a:gd name="T42" fmla="*/ 27 w 73"/>
                <a:gd name="T43" fmla="*/ 91 h 91"/>
                <a:gd name="T44" fmla="*/ 27 w 73"/>
                <a:gd name="T45" fmla="*/ 82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3" h="91">
                  <a:moveTo>
                    <a:pt x="27" y="82"/>
                  </a:moveTo>
                  <a:cubicBezTo>
                    <a:pt x="19" y="82"/>
                    <a:pt x="19" y="82"/>
                    <a:pt x="19" y="82"/>
                  </a:cubicBezTo>
                  <a:cubicBezTo>
                    <a:pt x="19" y="54"/>
                    <a:pt x="19" y="54"/>
                    <a:pt x="19" y="54"/>
                  </a:cubicBezTo>
                  <a:cubicBezTo>
                    <a:pt x="19" y="41"/>
                    <a:pt x="25" y="35"/>
                    <a:pt x="37" y="35"/>
                  </a:cubicBezTo>
                  <a:cubicBezTo>
                    <a:pt x="48" y="35"/>
                    <a:pt x="55" y="41"/>
                    <a:pt x="55" y="54"/>
                  </a:cubicBezTo>
                  <a:cubicBezTo>
                    <a:pt x="55" y="82"/>
                    <a:pt x="55" y="82"/>
                    <a:pt x="55" y="82"/>
                  </a:cubicBezTo>
                  <a:cubicBezTo>
                    <a:pt x="46" y="82"/>
                    <a:pt x="46" y="82"/>
                    <a:pt x="46" y="82"/>
                  </a:cubicBezTo>
                  <a:cubicBezTo>
                    <a:pt x="46" y="91"/>
                    <a:pt x="46" y="91"/>
                    <a:pt x="46" y="91"/>
                  </a:cubicBezTo>
                  <a:cubicBezTo>
                    <a:pt x="73" y="91"/>
                    <a:pt x="73" y="91"/>
                    <a:pt x="73" y="91"/>
                  </a:cubicBezTo>
                  <a:cubicBezTo>
                    <a:pt x="73" y="82"/>
                    <a:pt x="73" y="82"/>
                    <a:pt x="73" y="82"/>
                  </a:cubicBezTo>
                  <a:cubicBezTo>
                    <a:pt x="65" y="82"/>
                    <a:pt x="65" y="82"/>
                    <a:pt x="65" y="82"/>
                  </a:cubicBezTo>
                  <a:cubicBezTo>
                    <a:pt x="65" y="54"/>
                    <a:pt x="65" y="54"/>
                    <a:pt x="65" y="54"/>
                  </a:cubicBezTo>
                  <a:cubicBezTo>
                    <a:pt x="65" y="39"/>
                    <a:pt x="55" y="26"/>
                    <a:pt x="38" y="26"/>
                  </a:cubicBezTo>
                  <a:cubicBezTo>
                    <a:pt x="30" y="26"/>
                    <a:pt x="23" y="29"/>
                    <a:pt x="19" y="35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82"/>
                    <a:pt x="9" y="82"/>
                    <a:pt x="9" y="82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0" y="91"/>
                    <a:pt x="0" y="91"/>
                    <a:pt x="0" y="91"/>
                  </a:cubicBezTo>
                  <a:cubicBezTo>
                    <a:pt x="27" y="91"/>
                    <a:pt x="27" y="91"/>
                    <a:pt x="27" y="91"/>
                  </a:cubicBezTo>
                  <a:lnTo>
                    <a:pt x="27" y="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8" name="Freeform 7">
              <a:extLst>
                <a:ext uri="{FF2B5EF4-FFF2-40B4-BE49-F238E27FC236}">
                  <a16:creationId xmlns:a16="http://schemas.microsoft.com/office/drawing/2014/main" xmlns="" id="{3CB93BBE-80DA-457D-B72D-9C9C5E5B868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19850" y="3111500"/>
              <a:ext cx="822325" cy="750888"/>
            </a:xfrm>
            <a:custGeom>
              <a:avLst/>
              <a:gdLst>
                <a:gd name="T0" fmla="*/ 73 w 73"/>
                <a:gd name="T1" fmla="*/ 10 h 66"/>
                <a:gd name="T2" fmla="*/ 73 w 73"/>
                <a:gd name="T3" fmla="*/ 2 h 66"/>
                <a:gd name="T4" fmla="*/ 54 w 73"/>
                <a:gd name="T5" fmla="*/ 2 h 66"/>
                <a:gd name="T6" fmla="*/ 54 w 73"/>
                <a:gd name="T7" fmla="*/ 11 h 66"/>
                <a:gd name="T8" fmla="*/ 31 w 73"/>
                <a:gd name="T9" fmla="*/ 0 h 66"/>
                <a:gd name="T10" fmla="*/ 0 w 73"/>
                <a:gd name="T11" fmla="*/ 33 h 66"/>
                <a:gd name="T12" fmla="*/ 31 w 73"/>
                <a:gd name="T13" fmla="*/ 66 h 66"/>
                <a:gd name="T14" fmla="*/ 54 w 73"/>
                <a:gd name="T15" fmla="*/ 55 h 66"/>
                <a:gd name="T16" fmla="*/ 54 w 73"/>
                <a:gd name="T17" fmla="*/ 65 h 66"/>
                <a:gd name="T18" fmla="*/ 73 w 73"/>
                <a:gd name="T19" fmla="*/ 65 h 66"/>
                <a:gd name="T20" fmla="*/ 73 w 73"/>
                <a:gd name="T21" fmla="*/ 56 h 66"/>
                <a:gd name="T22" fmla="*/ 64 w 73"/>
                <a:gd name="T23" fmla="*/ 56 h 66"/>
                <a:gd name="T24" fmla="*/ 64 w 73"/>
                <a:gd name="T25" fmla="*/ 10 h 66"/>
                <a:gd name="T26" fmla="*/ 73 w 73"/>
                <a:gd name="T27" fmla="*/ 10 h 66"/>
                <a:gd name="T28" fmla="*/ 33 w 73"/>
                <a:gd name="T29" fmla="*/ 58 h 66"/>
                <a:gd name="T30" fmla="*/ 11 w 73"/>
                <a:gd name="T31" fmla="*/ 33 h 66"/>
                <a:gd name="T32" fmla="*/ 33 w 73"/>
                <a:gd name="T33" fmla="*/ 9 h 66"/>
                <a:gd name="T34" fmla="*/ 54 w 73"/>
                <a:gd name="T35" fmla="*/ 33 h 66"/>
                <a:gd name="T36" fmla="*/ 33 w 73"/>
                <a:gd name="T37" fmla="*/ 5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3" h="66">
                  <a:moveTo>
                    <a:pt x="73" y="10"/>
                  </a:moveTo>
                  <a:cubicBezTo>
                    <a:pt x="73" y="2"/>
                    <a:pt x="73" y="2"/>
                    <a:pt x="73" y="2"/>
                  </a:cubicBezTo>
                  <a:cubicBezTo>
                    <a:pt x="54" y="2"/>
                    <a:pt x="54" y="2"/>
                    <a:pt x="54" y="2"/>
                  </a:cubicBezTo>
                  <a:cubicBezTo>
                    <a:pt x="54" y="11"/>
                    <a:pt x="54" y="11"/>
                    <a:pt x="54" y="11"/>
                  </a:cubicBezTo>
                  <a:cubicBezTo>
                    <a:pt x="49" y="4"/>
                    <a:pt x="41" y="0"/>
                    <a:pt x="31" y="0"/>
                  </a:cubicBezTo>
                  <a:cubicBezTo>
                    <a:pt x="13" y="0"/>
                    <a:pt x="0" y="14"/>
                    <a:pt x="0" y="33"/>
                  </a:cubicBezTo>
                  <a:cubicBezTo>
                    <a:pt x="0" y="52"/>
                    <a:pt x="13" y="66"/>
                    <a:pt x="31" y="66"/>
                  </a:cubicBezTo>
                  <a:cubicBezTo>
                    <a:pt x="41" y="66"/>
                    <a:pt x="49" y="62"/>
                    <a:pt x="54" y="55"/>
                  </a:cubicBezTo>
                  <a:cubicBezTo>
                    <a:pt x="54" y="65"/>
                    <a:pt x="54" y="65"/>
                    <a:pt x="54" y="65"/>
                  </a:cubicBezTo>
                  <a:cubicBezTo>
                    <a:pt x="73" y="65"/>
                    <a:pt x="73" y="65"/>
                    <a:pt x="73" y="65"/>
                  </a:cubicBezTo>
                  <a:cubicBezTo>
                    <a:pt x="73" y="56"/>
                    <a:pt x="73" y="56"/>
                    <a:pt x="73" y="56"/>
                  </a:cubicBezTo>
                  <a:cubicBezTo>
                    <a:pt x="64" y="56"/>
                    <a:pt x="64" y="56"/>
                    <a:pt x="64" y="56"/>
                  </a:cubicBezTo>
                  <a:cubicBezTo>
                    <a:pt x="64" y="10"/>
                    <a:pt x="64" y="10"/>
                    <a:pt x="64" y="10"/>
                  </a:cubicBezTo>
                  <a:lnTo>
                    <a:pt x="73" y="10"/>
                  </a:lnTo>
                  <a:close/>
                  <a:moveTo>
                    <a:pt x="33" y="58"/>
                  </a:moveTo>
                  <a:cubicBezTo>
                    <a:pt x="20" y="58"/>
                    <a:pt x="11" y="47"/>
                    <a:pt x="11" y="33"/>
                  </a:cubicBezTo>
                  <a:cubicBezTo>
                    <a:pt x="11" y="19"/>
                    <a:pt x="20" y="9"/>
                    <a:pt x="33" y="9"/>
                  </a:cubicBezTo>
                  <a:cubicBezTo>
                    <a:pt x="46" y="9"/>
                    <a:pt x="54" y="19"/>
                    <a:pt x="54" y="33"/>
                  </a:cubicBezTo>
                  <a:cubicBezTo>
                    <a:pt x="54" y="47"/>
                    <a:pt x="46" y="58"/>
                    <a:pt x="33" y="58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9" name="Freeform 8">
              <a:extLst>
                <a:ext uri="{FF2B5EF4-FFF2-40B4-BE49-F238E27FC236}">
                  <a16:creationId xmlns:a16="http://schemas.microsoft.com/office/drawing/2014/main" xmlns="" id="{0D49BCB4-A340-471B-971A-24BD033C7F3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08638" y="3111500"/>
              <a:ext cx="731838" cy="750888"/>
            </a:xfrm>
            <a:custGeom>
              <a:avLst/>
              <a:gdLst>
                <a:gd name="T0" fmla="*/ 65 w 65"/>
                <a:gd name="T1" fmla="*/ 32 h 66"/>
                <a:gd name="T2" fmla="*/ 33 w 65"/>
                <a:gd name="T3" fmla="*/ 0 h 66"/>
                <a:gd name="T4" fmla="*/ 0 w 65"/>
                <a:gd name="T5" fmla="*/ 33 h 66"/>
                <a:gd name="T6" fmla="*/ 33 w 65"/>
                <a:gd name="T7" fmla="*/ 66 h 66"/>
                <a:gd name="T8" fmla="*/ 63 w 65"/>
                <a:gd name="T9" fmla="*/ 48 h 66"/>
                <a:gd name="T10" fmla="*/ 53 w 65"/>
                <a:gd name="T11" fmla="*/ 48 h 66"/>
                <a:gd name="T12" fmla="*/ 34 w 65"/>
                <a:gd name="T13" fmla="*/ 58 h 66"/>
                <a:gd name="T14" fmla="*/ 11 w 65"/>
                <a:gd name="T15" fmla="*/ 37 h 66"/>
                <a:gd name="T16" fmla="*/ 65 w 65"/>
                <a:gd name="T17" fmla="*/ 37 h 66"/>
                <a:gd name="T18" fmla="*/ 65 w 65"/>
                <a:gd name="T19" fmla="*/ 32 h 66"/>
                <a:gd name="T20" fmla="*/ 11 w 65"/>
                <a:gd name="T21" fmla="*/ 28 h 66"/>
                <a:gd name="T22" fmla="*/ 33 w 65"/>
                <a:gd name="T23" fmla="*/ 8 h 66"/>
                <a:gd name="T24" fmla="*/ 55 w 65"/>
                <a:gd name="T25" fmla="*/ 28 h 66"/>
                <a:gd name="T26" fmla="*/ 11 w 65"/>
                <a:gd name="T27" fmla="*/ 2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5" h="66">
                  <a:moveTo>
                    <a:pt x="65" y="32"/>
                  </a:moveTo>
                  <a:cubicBezTo>
                    <a:pt x="65" y="13"/>
                    <a:pt x="53" y="0"/>
                    <a:pt x="33" y="0"/>
                  </a:cubicBezTo>
                  <a:cubicBezTo>
                    <a:pt x="14" y="0"/>
                    <a:pt x="0" y="14"/>
                    <a:pt x="0" y="33"/>
                  </a:cubicBezTo>
                  <a:cubicBezTo>
                    <a:pt x="0" y="53"/>
                    <a:pt x="14" y="66"/>
                    <a:pt x="33" y="66"/>
                  </a:cubicBezTo>
                  <a:cubicBezTo>
                    <a:pt x="47" y="66"/>
                    <a:pt x="58" y="59"/>
                    <a:pt x="63" y="48"/>
                  </a:cubicBezTo>
                  <a:cubicBezTo>
                    <a:pt x="53" y="48"/>
                    <a:pt x="53" y="48"/>
                    <a:pt x="53" y="48"/>
                  </a:cubicBezTo>
                  <a:cubicBezTo>
                    <a:pt x="50" y="54"/>
                    <a:pt x="43" y="58"/>
                    <a:pt x="34" y="58"/>
                  </a:cubicBezTo>
                  <a:cubicBezTo>
                    <a:pt x="19" y="58"/>
                    <a:pt x="12" y="49"/>
                    <a:pt x="11" y="37"/>
                  </a:cubicBezTo>
                  <a:cubicBezTo>
                    <a:pt x="65" y="37"/>
                    <a:pt x="65" y="37"/>
                    <a:pt x="65" y="37"/>
                  </a:cubicBezTo>
                  <a:lnTo>
                    <a:pt x="65" y="32"/>
                  </a:lnTo>
                  <a:close/>
                  <a:moveTo>
                    <a:pt x="11" y="28"/>
                  </a:moveTo>
                  <a:cubicBezTo>
                    <a:pt x="12" y="17"/>
                    <a:pt x="20" y="8"/>
                    <a:pt x="33" y="8"/>
                  </a:cubicBezTo>
                  <a:cubicBezTo>
                    <a:pt x="47" y="8"/>
                    <a:pt x="54" y="18"/>
                    <a:pt x="55" y="28"/>
                  </a:cubicBezTo>
                  <a:lnTo>
                    <a:pt x="11" y="2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0" name="Freeform 9">
              <a:extLst>
                <a:ext uri="{FF2B5EF4-FFF2-40B4-BE49-F238E27FC236}">
                  <a16:creationId xmlns:a16="http://schemas.microsoft.com/office/drawing/2014/main" xmlns="" id="{0C4938EB-CD7A-497C-9BA4-5CD6B3F08D8E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3650" y="2952750"/>
              <a:ext cx="360363" cy="898525"/>
            </a:xfrm>
            <a:custGeom>
              <a:avLst/>
              <a:gdLst>
                <a:gd name="T0" fmla="*/ 20 w 32"/>
                <a:gd name="T1" fmla="*/ 62 h 79"/>
                <a:gd name="T2" fmla="*/ 20 w 32"/>
                <a:gd name="T3" fmla="*/ 24 h 79"/>
                <a:gd name="T4" fmla="*/ 32 w 32"/>
                <a:gd name="T5" fmla="*/ 24 h 79"/>
                <a:gd name="T6" fmla="*/ 32 w 32"/>
                <a:gd name="T7" fmla="*/ 16 h 79"/>
                <a:gd name="T8" fmla="*/ 20 w 32"/>
                <a:gd name="T9" fmla="*/ 16 h 79"/>
                <a:gd name="T10" fmla="*/ 20 w 32"/>
                <a:gd name="T11" fmla="*/ 0 h 79"/>
                <a:gd name="T12" fmla="*/ 9 w 32"/>
                <a:gd name="T13" fmla="*/ 0 h 79"/>
                <a:gd name="T14" fmla="*/ 9 w 32"/>
                <a:gd name="T15" fmla="*/ 16 h 79"/>
                <a:gd name="T16" fmla="*/ 0 w 32"/>
                <a:gd name="T17" fmla="*/ 16 h 79"/>
                <a:gd name="T18" fmla="*/ 0 w 32"/>
                <a:gd name="T19" fmla="*/ 24 h 79"/>
                <a:gd name="T20" fmla="*/ 9 w 32"/>
                <a:gd name="T21" fmla="*/ 24 h 79"/>
                <a:gd name="T22" fmla="*/ 9 w 32"/>
                <a:gd name="T23" fmla="*/ 63 h 79"/>
                <a:gd name="T24" fmla="*/ 26 w 32"/>
                <a:gd name="T25" fmla="*/ 79 h 79"/>
                <a:gd name="T26" fmla="*/ 32 w 32"/>
                <a:gd name="T27" fmla="*/ 79 h 79"/>
                <a:gd name="T28" fmla="*/ 32 w 32"/>
                <a:gd name="T29" fmla="*/ 70 h 79"/>
                <a:gd name="T30" fmla="*/ 27 w 32"/>
                <a:gd name="T31" fmla="*/ 71 h 79"/>
                <a:gd name="T32" fmla="*/ 20 w 32"/>
                <a:gd name="T33" fmla="*/ 62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2" h="79">
                  <a:moveTo>
                    <a:pt x="20" y="62"/>
                  </a:moveTo>
                  <a:cubicBezTo>
                    <a:pt x="20" y="24"/>
                    <a:pt x="20" y="24"/>
                    <a:pt x="20" y="24"/>
                  </a:cubicBezTo>
                  <a:cubicBezTo>
                    <a:pt x="32" y="24"/>
                    <a:pt x="32" y="24"/>
                    <a:pt x="32" y="24"/>
                  </a:cubicBezTo>
                  <a:cubicBezTo>
                    <a:pt x="32" y="16"/>
                    <a:pt x="32" y="16"/>
                    <a:pt x="32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16"/>
                    <a:pt x="9" y="16"/>
                    <a:pt x="9" y="16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63"/>
                    <a:pt x="9" y="63"/>
                    <a:pt x="9" y="63"/>
                  </a:cubicBezTo>
                  <a:cubicBezTo>
                    <a:pt x="9" y="74"/>
                    <a:pt x="14" y="79"/>
                    <a:pt x="26" y="79"/>
                  </a:cubicBezTo>
                  <a:cubicBezTo>
                    <a:pt x="28" y="79"/>
                    <a:pt x="31" y="79"/>
                    <a:pt x="32" y="79"/>
                  </a:cubicBezTo>
                  <a:cubicBezTo>
                    <a:pt x="32" y="70"/>
                    <a:pt x="32" y="70"/>
                    <a:pt x="32" y="70"/>
                  </a:cubicBezTo>
                  <a:cubicBezTo>
                    <a:pt x="30" y="71"/>
                    <a:pt x="29" y="71"/>
                    <a:pt x="27" y="71"/>
                  </a:cubicBezTo>
                  <a:cubicBezTo>
                    <a:pt x="22" y="71"/>
                    <a:pt x="20" y="69"/>
                    <a:pt x="20" y="62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1" name="Freeform 10">
              <a:extLst>
                <a:ext uri="{FF2B5EF4-FFF2-40B4-BE49-F238E27FC236}">
                  <a16:creationId xmlns:a16="http://schemas.microsoft.com/office/drawing/2014/main" xmlns="" id="{38FB080F-C58C-4388-AF4B-47AA97CFE9F5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5513" y="2816225"/>
              <a:ext cx="338138" cy="1035050"/>
            </a:xfrm>
            <a:custGeom>
              <a:avLst/>
              <a:gdLst>
                <a:gd name="T0" fmla="*/ 24 w 30"/>
                <a:gd name="T1" fmla="*/ 91 h 91"/>
                <a:gd name="T2" fmla="*/ 30 w 30"/>
                <a:gd name="T3" fmla="*/ 91 h 91"/>
                <a:gd name="T4" fmla="*/ 30 w 30"/>
                <a:gd name="T5" fmla="*/ 82 h 91"/>
                <a:gd name="T6" fmla="*/ 26 w 30"/>
                <a:gd name="T7" fmla="*/ 83 h 91"/>
                <a:gd name="T8" fmla="*/ 19 w 30"/>
                <a:gd name="T9" fmla="*/ 74 h 91"/>
                <a:gd name="T10" fmla="*/ 19 w 30"/>
                <a:gd name="T11" fmla="*/ 0 h 91"/>
                <a:gd name="T12" fmla="*/ 0 w 30"/>
                <a:gd name="T13" fmla="*/ 0 h 91"/>
                <a:gd name="T14" fmla="*/ 0 w 30"/>
                <a:gd name="T15" fmla="*/ 8 h 91"/>
                <a:gd name="T16" fmla="*/ 9 w 30"/>
                <a:gd name="T17" fmla="*/ 8 h 91"/>
                <a:gd name="T18" fmla="*/ 9 w 30"/>
                <a:gd name="T19" fmla="*/ 74 h 91"/>
                <a:gd name="T20" fmla="*/ 24 w 30"/>
                <a:gd name="T21" fmla="*/ 9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0" h="91">
                  <a:moveTo>
                    <a:pt x="24" y="91"/>
                  </a:moveTo>
                  <a:cubicBezTo>
                    <a:pt x="26" y="91"/>
                    <a:pt x="29" y="91"/>
                    <a:pt x="30" y="91"/>
                  </a:cubicBezTo>
                  <a:cubicBezTo>
                    <a:pt x="30" y="82"/>
                    <a:pt x="30" y="82"/>
                    <a:pt x="30" y="82"/>
                  </a:cubicBezTo>
                  <a:cubicBezTo>
                    <a:pt x="28" y="83"/>
                    <a:pt x="27" y="83"/>
                    <a:pt x="26" y="83"/>
                  </a:cubicBezTo>
                  <a:cubicBezTo>
                    <a:pt x="21" y="83"/>
                    <a:pt x="19" y="80"/>
                    <a:pt x="19" y="74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74"/>
                    <a:pt x="9" y="74"/>
                    <a:pt x="9" y="74"/>
                  </a:cubicBezTo>
                  <a:cubicBezTo>
                    <a:pt x="9" y="85"/>
                    <a:pt x="13" y="91"/>
                    <a:pt x="24" y="91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2" name="Freeform 11">
              <a:extLst>
                <a:ext uri="{FF2B5EF4-FFF2-40B4-BE49-F238E27FC236}">
                  <a16:creationId xmlns:a16="http://schemas.microsoft.com/office/drawing/2014/main" xmlns="" id="{BAF44958-70BD-4D20-94BC-622DD0D8A8D3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3625" y="2781300"/>
              <a:ext cx="911225" cy="1092200"/>
            </a:xfrm>
            <a:custGeom>
              <a:avLst/>
              <a:gdLst>
                <a:gd name="T0" fmla="*/ 28 w 81"/>
                <a:gd name="T1" fmla="*/ 65 h 96"/>
                <a:gd name="T2" fmla="*/ 41 w 81"/>
                <a:gd name="T3" fmla="*/ 74 h 96"/>
                <a:gd name="T4" fmla="*/ 52 w 81"/>
                <a:gd name="T5" fmla="*/ 68 h 96"/>
                <a:gd name="T6" fmla="*/ 36 w 81"/>
                <a:gd name="T7" fmla="*/ 59 h 96"/>
                <a:gd name="T8" fmla="*/ 12 w 81"/>
                <a:gd name="T9" fmla="*/ 50 h 96"/>
                <a:gd name="T10" fmla="*/ 1 w 81"/>
                <a:gd name="T11" fmla="*/ 29 h 96"/>
                <a:gd name="T12" fmla="*/ 39 w 81"/>
                <a:gd name="T13" fmla="*/ 0 h 96"/>
                <a:gd name="T14" fmla="*/ 78 w 81"/>
                <a:gd name="T15" fmla="*/ 29 h 96"/>
                <a:gd name="T16" fmla="*/ 51 w 81"/>
                <a:gd name="T17" fmla="*/ 29 h 96"/>
                <a:gd name="T18" fmla="*/ 39 w 81"/>
                <a:gd name="T19" fmla="*/ 21 h 96"/>
                <a:gd name="T20" fmla="*/ 30 w 81"/>
                <a:gd name="T21" fmla="*/ 27 h 96"/>
                <a:gd name="T22" fmla="*/ 43 w 81"/>
                <a:gd name="T23" fmla="*/ 35 h 96"/>
                <a:gd name="T24" fmla="*/ 69 w 81"/>
                <a:gd name="T25" fmla="*/ 43 h 96"/>
                <a:gd name="T26" fmla="*/ 81 w 81"/>
                <a:gd name="T27" fmla="*/ 65 h 96"/>
                <a:gd name="T28" fmla="*/ 40 w 81"/>
                <a:gd name="T29" fmla="*/ 96 h 96"/>
                <a:gd name="T30" fmla="*/ 0 w 81"/>
                <a:gd name="T31" fmla="*/ 65 h 96"/>
                <a:gd name="T32" fmla="*/ 28 w 81"/>
                <a:gd name="T33" fmla="*/ 65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1" h="96">
                  <a:moveTo>
                    <a:pt x="28" y="65"/>
                  </a:moveTo>
                  <a:cubicBezTo>
                    <a:pt x="29" y="72"/>
                    <a:pt x="33" y="74"/>
                    <a:pt x="41" y="74"/>
                  </a:cubicBezTo>
                  <a:cubicBezTo>
                    <a:pt x="48" y="74"/>
                    <a:pt x="52" y="72"/>
                    <a:pt x="52" y="68"/>
                  </a:cubicBezTo>
                  <a:cubicBezTo>
                    <a:pt x="52" y="62"/>
                    <a:pt x="47" y="62"/>
                    <a:pt x="36" y="59"/>
                  </a:cubicBezTo>
                  <a:cubicBezTo>
                    <a:pt x="24" y="55"/>
                    <a:pt x="15" y="53"/>
                    <a:pt x="12" y="50"/>
                  </a:cubicBezTo>
                  <a:cubicBezTo>
                    <a:pt x="5" y="45"/>
                    <a:pt x="1" y="38"/>
                    <a:pt x="1" y="29"/>
                  </a:cubicBezTo>
                  <a:cubicBezTo>
                    <a:pt x="1" y="11"/>
                    <a:pt x="15" y="0"/>
                    <a:pt x="39" y="0"/>
                  </a:cubicBezTo>
                  <a:cubicBezTo>
                    <a:pt x="63" y="0"/>
                    <a:pt x="77" y="10"/>
                    <a:pt x="78" y="29"/>
                  </a:cubicBezTo>
                  <a:cubicBezTo>
                    <a:pt x="51" y="29"/>
                    <a:pt x="51" y="29"/>
                    <a:pt x="51" y="29"/>
                  </a:cubicBezTo>
                  <a:cubicBezTo>
                    <a:pt x="50" y="23"/>
                    <a:pt x="46" y="21"/>
                    <a:pt x="39" y="21"/>
                  </a:cubicBezTo>
                  <a:cubicBezTo>
                    <a:pt x="33" y="21"/>
                    <a:pt x="30" y="23"/>
                    <a:pt x="30" y="27"/>
                  </a:cubicBezTo>
                  <a:cubicBezTo>
                    <a:pt x="30" y="32"/>
                    <a:pt x="34" y="33"/>
                    <a:pt x="43" y="35"/>
                  </a:cubicBezTo>
                  <a:cubicBezTo>
                    <a:pt x="54" y="38"/>
                    <a:pt x="63" y="40"/>
                    <a:pt x="69" y="43"/>
                  </a:cubicBezTo>
                  <a:cubicBezTo>
                    <a:pt x="77" y="49"/>
                    <a:pt x="81" y="55"/>
                    <a:pt x="81" y="65"/>
                  </a:cubicBezTo>
                  <a:cubicBezTo>
                    <a:pt x="81" y="84"/>
                    <a:pt x="66" y="96"/>
                    <a:pt x="40" y="96"/>
                  </a:cubicBezTo>
                  <a:cubicBezTo>
                    <a:pt x="16" y="96"/>
                    <a:pt x="1" y="84"/>
                    <a:pt x="0" y="65"/>
                  </a:cubicBezTo>
                  <a:lnTo>
                    <a:pt x="28" y="65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3" name="Freeform 12">
              <a:extLst>
                <a:ext uri="{FF2B5EF4-FFF2-40B4-BE49-F238E27FC236}">
                  <a16:creationId xmlns:a16="http://schemas.microsoft.com/office/drawing/2014/main" xmlns="" id="{6178D6E0-263D-45AD-BE10-D95989C192BE}"/>
                </a:ext>
              </a:extLst>
            </p:cNvPr>
            <p:cNvSpPr>
              <a:spLocks/>
            </p:cNvSpPr>
            <p:nvPr/>
          </p:nvSpPr>
          <p:spPr bwMode="auto">
            <a:xfrm>
              <a:off x="1698625" y="2781300"/>
              <a:ext cx="1014413" cy="1092200"/>
            </a:xfrm>
            <a:custGeom>
              <a:avLst/>
              <a:gdLst>
                <a:gd name="T0" fmla="*/ 90 w 90"/>
                <a:gd name="T1" fmla="*/ 58 h 96"/>
                <a:gd name="T2" fmla="*/ 46 w 90"/>
                <a:gd name="T3" fmla="*/ 96 h 96"/>
                <a:gd name="T4" fmla="*/ 0 w 90"/>
                <a:gd name="T5" fmla="*/ 48 h 96"/>
                <a:gd name="T6" fmla="*/ 46 w 90"/>
                <a:gd name="T7" fmla="*/ 0 h 96"/>
                <a:gd name="T8" fmla="*/ 89 w 90"/>
                <a:gd name="T9" fmla="*/ 37 h 96"/>
                <a:gd name="T10" fmla="*/ 62 w 90"/>
                <a:gd name="T11" fmla="*/ 37 h 96"/>
                <a:gd name="T12" fmla="*/ 46 w 90"/>
                <a:gd name="T13" fmla="*/ 23 h 96"/>
                <a:gd name="T14" fmla="*/ 29 w 90"/>
                <a:gd name="T15" fmla="*/ 48 h 96"/>
                <a:gd name="T16" fmla="*/ 47 w 90"/>
                <a:gd name="T17" fmla="*/ 73 h 96"/>
                <a:gd name="T18" fmla="*/ 62 w 90"/>
                <a:gd name="T19" fmla="*/ 58 h 96"/>
                <a:gd name="T20" fmla="*/ 90 w 90"/>
                <a:gd name="T21" fmla="*/ 58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0" h="96">
                  <a:moveTo>
                    <a:pt x="90" y="58"/>
                  </a:moveTo>
                  <a:cubicBezTo>
                    <a:pt x="88" y="82"/>
                    <a:pt x="72" y="96"/>
                    <a:pt x="46" y="96"/>
                  </a:cubicBezTo>
                  <a:cubicBezTo>
                    <a:pt x="17" y="96"/>
                    <a:pt x="0" y="78"/>
                    <a:pt x="0" y="48"/>
                  </a:cubicBezTo>
                  <a:cubicBezTo>
                    <a:pt x="0" y="18"/>
                    <a:pt x="17" y="0"/>
                    <a:pt x="46" y="0"/>
                  </a:cubicBezTo>
                  <a:cubicBezTo>
                    <a:pt x="72" y="0"/>
                    <a:pt x="88" y="13"/>
                    <a:pt x="89" y="37"/>
                  </a:cubicBezTo>
                  <a:cubicBezTo>
                    <a:pt x="62" y="37"/>
                    <a:pt x="62" y="37"/>
                    <a:pt x="62" y="37"/>
                  </a:cubicBezTo>
                  <a:cubicBezTo>
                    <a:pt x="61" y="28"/>
                    <a:pt x="55" y="23"/>
                    <a:pt x="46" y="23"/>
                  </a:cubicBezTo>
                  <a:cubicBezTo>
                    <a:pt x="35" y="23"/>
                    <a:pt x="29" y="31"/>
                    <a:pt x="29" y="48"/>
                  </a:cubicBezTo>
                  <a:cubicBezTo>
                    <a:pt x="29" y="65"/>
                    <a:pt x="35" y="73"/>
                    <a:pt x="47" y="73"/>
                  </a:cubicBezTo>
                  <a:cubicBezTo>
                    <a:pt x="56" y="73"/>
                    <a:pt x="61" y="68"/>
                    <a:pt x="62" y="58"/>
                  </a:cubicBezTo>
                  <a:lnTo>
                    <a:pt x="90" y="58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4" name="Freeform 13">
              <a:extLst>
                <a:ext uri="{FF2B5EF4-FFF2-40B4-BE49-F238E27FC236}">
                  <a16:creationId xmlns:a16="http://schemas.microsoft.com/office/drawing/2014/main" xmlns="" id="{5E418160-22DA-431A-9B45-BDEDF2B7B5A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44775" y="2816225"/>
              <a:ext cx="1014413" cy="1023938"/>
            </a:xfrm>
            <a:custGeom>
              <a:avLst/>
              <a:gdLst>
                <a:gd name="T0" fmla="*/ 0 w 639"/>
                <a:gd name="T1" fmla="*/ 0 h 645"/>
                <a:gd name="T2" fmla="*/ 206 w 639"/>
                <a:gd name="T3" fmla="*/ 0 h 645"/>
                <a:gd name="T4" fmla="*/ 320 w 639"/>
                <a:gd name="T5" fmla="*/ 415 h 645"/>
                <a:gd name="T6" fmla="*/ 433 w 639"/>
                <a:gd name="T7" fmla="*/ 0 h 645"/>
                <a:gd name="T8" fmla="*/ 639 w 639"/>
                <a:gd name="T9" fmla="*/ 0 h 645"/>
                <a:gd name="T10" fmla="*/ 419 w 639"/>
                <a:gd name="T11" fmla="*/ 645 h 645"/>
                <a:gd name="T12" fmla="*/ 213 w 639"/>
                <a:gd name="T13" fmla="*/ 645 h 645"/>
                <a:gd name="T14" fmla="*/ 0 w 639"/>
                <a:gd name="T15" fmla="*/ 0 h 6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39" h="645">
                  <a:moveTo>
                    <a:pt x="0" y="0"/>
                  </a:moveTo>
                  <a:lnTo>
                    <a:pt x="206" y="0"/>
                  </a:lnTo>
                  <a:lnTo>
                    <a:pt x="320" y="415"/>
                  </a:lnTo>
                  <a:lnTo>
                    <a:pt x="433" y="0"/>
                  </a:lnTo>
                  <a:lnTo>
                    <a:pt x="639" y="0"/>
                  </a:lnTo>
                  <a:lnTo>
                    <a:pt x="419" y="645"/>
                  </a:lnTo>
                  <a:lnTo>
                    <a:pt x="213" y="64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5" name="Freeform 14">
              <a:extLst>
                <a:ext uri="{FF2B5EF4-FFF2-40B4-BE49-F238E27FC236}">
                  <a16:creationId xmlns:a16="http://schemas.microsoft.com/office/drawing/2014/main" xmlns="" id="{91A4F274-1376-4B3F-9106-428B3F243841}"/>
                </a:ext>
              </a:extLst>
            </p:cNvPr>
            <p:cNvSpPr>
              <a:spLocks/>
            </p:cNvSpPr>
            <p:nvPr/>
          </p:nvSpPr>
          <p:spPr bwMode="auto">
            <a:xfrm>
              <a:off x="279400" y="2781300"/>
              <a:ext cx="1295400" cy="1092200"/>
            </a:xfrm>
            <a:custGeom>
              <a:avLst/>
              <a:gdLst>
                <a:gd name="T0" fmla="*/ 4 w 115"/>
                <a:gd name="T1" fmla="*/ 42 h 96"/>
                <a:gd name="T2" fmla="*/ 0 w 115"/>
                <a:gd name="T3" fmla="*/ 33 h 96"/>
                <a:gd name="T4" fmla="*/ 4 w 115"/>
                <a:gd name="T5" fmla="*/ 23 h 96"/>
                <a:gd name="T6" fmla="*/ 22 w 115"/>
                <a:gd name="T7" fmla="*/ 4 h 96"/>
                <a:gd name="T8" fmla="*/ 32 w 115"/>
                <a:gd name="T9" fmla="*/ 0 h 96"/>
                <a:gd name="T10" fmla="*/ 42 w 115"/>
                <a:gd name="T11" fmla="*/ 4 h 96"/>
                <a:gd name="T12" fmla="*/ 58 w 115"/>
                <a:gd name="T13" fmla="*/ 20 h 96"/>
                <a:gd name="T14" fmla="*/ 73 w 115"/>
                <a:gd name="T15" fmla="*/ 4 h 96"/>
                <a:gd name="T16" fmla="*/ 83 w 115"/>
                <a:gd name="T17" fmla="*/ 0 h 96"/>
                <a:gd name="T18" fmla="*/ 93 w 115"/>
                <a:gd name="T19" fmla="*/ 4 h 96"/>
                <a:gd name="T20" fmla="*/ 111 w 115"/>
                <a:gd name="T21" fmla="*/ 23 h 96"/>
                <a:gd name="T22" fmla="*/ 115 w 115"/>
                <a:gd name="T23" fmla="*/ 33 h 96"/>
                <a:gd name="T24" fmla="*/ 111 w 115"/>
                <a:gd name="T25" fmla="*/ 42 h 96"/>
                <a:gd name="T26" fmla="*/ 58 w 115"/>
                <a:gd name="T27" fmla="*/ 96 h 96"/>
                <a:gd name="T28" fmla="*/ 57 w 115"/>
                <a:gd name="T29" fmla="*/ 96 h 96"/>
                <a:gd name="T30" fmla="*/ 4 w 115"/>
                <a:gd name="T31" fmla="*/ 4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5" h="96">
                  <a:moveTo>
                    <a:pt x="4" y="42"/>
                  </a:moveTo>
                  <a:cubicBezTo>
                    <a:pt x="1" y="40"/>
                    <a:pt x="0" y="36"/>
                    <a:pt x="0" y="33"/>
                  </a:cubicBezTo>
                  <a:cubicBezTo>
                    <a:pt x="0" y="29"/>
                    <a:pt x="1" y="25"/>
                    <a:pt x="4" y="23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25" y="1"/>
                    <a:pt x="29" y="0"/>
                    <a:pt x="32" y="0"/>
                  </a:cubicBezTo>
                  <a:cubicBezTo>
                    <a:pt x="36" y="0"/>
                    <a:pt x="39" y="1"/>
                    <a:pt x="42" y="4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73" y="4"/>
                    <a:pt x="73" y="4"/>
                    <a:pt x="73" y="4"/>
                  </a:cubicBezTo>
                  <a:cubicBezTo>
                    <a:pt x="76" y="1"/>
                    <a:pt x="79" y="0"/>
                    <a:pt x="83" y="0"/>
                  </a:cubicBezTo>
                  <a:cubicBezTo>
                    <a:pt x="87" y="0"/>
                    <a:pt x="90" y="1"/>
                    <a:pt x="93" y="4"/>
                  </a:cubicBezTo>
                  <a:cubicBezTo>
                    <a:pt x="111" y="23"/>
                    <a:pt x="111" y="23"/>
                    <a:pt x="111" y="23"/>
                  </a:cubicBezTo>
                  <a:cubicBezTo>
                    <a:pt x="114" y="25"/>
                    <a:pt x="115" y="29"/>
                    <a:pt x="115" y="33"/>
                  </a:cubicBezTo>
                  <a:cubicBezTo>
                    <a:pt x="115" y="36"/>
                    <a:pt x="114" y="40"/>
                    <a:pt x="111" y="42"/>
                  </a:cubicBezTo>
                  <a:cubicBezTo>
                    <a:pt x="58" y="96"/>
                    <a:pt x="58" y="96"/>
                    <a:pt x="58" y="96"/>
                  </a:cubicBezTo>
                  <a:cubicBezTo>
                    <a:pt x="57" y="96"/>
                    <a:pt x="57" y="96"/>
                    <a:pt x="57" y="96"/>
                  </a:cubicBezTo>
                  <a:lnTo>
                    <a:pt x="4" y="42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073055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3" r:id="rId1"/>
    <p:sldLayoutId id="2147483815" r:id="rId2"/>
    <p:sldLayoutId id="2147483804" r:id="rId3"/>
    <p:sldLayoutId id="2147483775" r:id="rId4"/>
    <p:sldLayoutId id="2147483776" r:id="rId5"/>
    <p:sldLayoutId id="2147483777" r:id="rId6"/>
    <p:sldLayoutId id="2147483805" r:id="rId7"/>
    <p:sldLayoutId id="2147483806" r:id="rId8"/>
    <p:sldLayoutId id="2147483808" r:id="rId9"/>
    <p:sldLayoutId id="2147483807" r:id="rId10"/>
    <p:sldLayoutId id="2147483814" r:id="rId11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0" i="0" kern="1200">
          <a:solidFill>
            <a:schemeClr val="accent2"/>
          </a:solidFill>
          <a:latin typeface="+mj-lt"/>
          <a:ea typeface="Open Sans" panose="020B0606030504020204" pitchFamily="34" charset="0"/>
          <a:cs typeface="Open Sans" panose="020B0606030504020204" pitchFamily="34" charset="0"/>
        </a:defRPr>
      </a:lvl1pPr>
    </p:titleStyle>
    <p:bodyStyle>
      <a:lvl1pPr marL="0" indent="0" algn="l" defTabSz="914400" rtl="0" eaLnBrk="1" latinLnBrk="0" hangingPunct="1">
        <a:spcBef>
          <a:spcPts val="1200"/>
        </a:spcBef>
        <a:spcAft>
          <a:spcPts val="0"/>
        </a:spcAft>
        <a:buClrTx/>
        <a:buFontTx/>
        <a:buNone/>
        <a:tabLst>
          <a:tab pos="1201738" algn="l"/>
        </a:tabLst>
        <a:defRPr sz="1800" b="0" i="0" kern="1200">
          <a:solidFill>
            <a:schemeClr val="tx2"/>
          </a:solidFill>
          <a:latin typeface="+mn-lt"/>
          <a:ea typeface="Open Sans" panose="020B0606030504020204" pitchFamily="34" charset="0"/>
          <a:cs typeface="Open Sans" panose="020B0606030504020204" pitchFamily="34" charset="0"/>
        </a:defRPr>
      </a:lvl1pPr>
      <a:lvl2pPr marL="200025" indent="-200025" algn="l" defTabSz="914400" rtl="0" eaLnBrk="1" latinLnBrk="0" hangingPunct="1">
        <a:spcBef>
          <a:spcPts val="1200"/>
        </a:spcBef>
        <a:spcAft>
          <a:spcPts val="0"/>
        </a:spcAft>
        <a:buClrTx/>
        <a:buFont typeface="Arial" pitchFamily="34" charset="0"/>
        <a:buChar char="•"/>
        <a:tabLst>
          <a:tab pos="1201738" algn="l"/>
        </a:tabLst>
        <a:defRPr sz="1800" b="0" i="0" kern="1200">
          <a:solidFill>
            <a:schemeClr val="tx2"/>
          </a:solidFill>
          <a:latin typeface="+mn-lt"/>
          <a:ea typeface="Open Sans" panose="020B0606030504020204" pitchFamily="34" charset="0"/>
          <a:cs typeface="Open Sans" panose="020B0606030504020204" pitchFamily="34" charset="0"/>
        </a:defRPr>
      </a:lvl2pPr>
      <a:lvl3pPr marL="398463" indent="-200025" algn="l" defTabSz="914400" rtl="0" eaLnBrk="1" latinLnBrk="0" hangingPunct="1">
        <a:spcBef>
          <a:spcPts val="300"/>
        </a:spcBef>
        <a:spcAft>
          <a:spcPts val="0"/>
        </a:spcAft>
        <a:buClrTx/>
        <a:buFont typeface="Lucida Grande"/>
        <a:buChar char="-"/>
        <a:tabLst>
          <a:tab pos="1201738" algn="l"/>
        </a:tabLst>
        <a:defRPr sz="1800" b="0" i="0" kern="1200">
          <a:solidFill>
            <a:schemeClr val="tx2"/>
          </a:solidFill>
          <a:latin typeface="+mn-lt"/>
          <a:ea typeface="Open Sans" panose="020B0606030504020204" pitchFamily="34" charset="0"/>
          <a:cs typeface="Open Sans" panose="020B0606030504020204" pitchFamily="34" charset="0"/>
        </a:defRPr>
      </a:lvl3pPr>
      <a:lvl4pPr marL="622300" indent="-200025" algn="l" defTabSz="914400" rtl="0" eaLnBrk="1" latinLnBrk="0" hangingPunct="1">
        <a:spcBef>
          <a:spcPts val="300"/>
        </a:spcBef>
        <a:spcAft>
          <a:spcPts val="0"/>
        </a:spcAft>
        <a:buClrTx/>
        <a:buFont typeface="Arial" pitchFamily="34" charset="0"/>
        <a:buChar char="•"/>
        <a:tabLst>
          <a:tab pos="1201738" algn="l"/>
        </a:tabLst>
        <a:defRPr sz="1800" b="0" i="0" kern="1200">
          <a:solidFill>
            <a:schemeClr val="tx2"/>
          </a:solidFill>
          <a:latin typeface="+mn-lt"/>
          <a:ea typeface="Open Sans" panose="020B0606030504020204" pitchFamily="34" charset="0"/>
          <a:cs typeface="Open Sans" panose="020B0606030504020204" pitchFamily="34" charset="0"/>
        </a:defRPr>
      </a:lvl4pPr>
      <a:lvl5pPr marL="806450" indent="-182563" algn="l" defTabSz="914400" rtl="0" eaLnBrk="1" latinLnBrk="0" hangingPunct="1">
        <a:spcBef>
          <a:spcPts val="300"/>
        </a:spcBef>
        <a:spcAft>
          <a:spcPts val="0"/>
        </a:spcAft>
        <a:buClrTx/>
        <a:buFont typeface="Lucida Grande"/>
        <a:buChar char="-"/>
        <a:tabLst>
          <a:tab pos="1201738" algn="l"/>
        </a:tabLst>
        <a:defRPr sz="1800" b="0" i="0" kern="1200">
          <a:solidFill>
            <a:schemeClr val="tx2"/>
          </a:solidFill>
          <a:latin typeface="+mn-lt"/>
          <a:ea typeface="Open Sans" panose="020B0606030504020204" pitchFamily="34" charset="0"/>
          <a:cs typeface="Open Sans" panose="020B0606030504020204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4.jpeg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3.bin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4.bin"/><Relationship Id="rId4" Type="http://schemas.openxmlformats.org/officeDocument/2006/relationships/notesSlide" Target="../notesSlides/notesSlide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933335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86" name="think-cell Slide" r:id="rId5" imgW="498" imgH="499" progId="TCLayout.ActiveDocument.1">
                  <p:embed/>
                </p:oleObj>
              </mc:Choice>
              <mc:Fallback>
                <p:oleObj name="think-cell Slide" r:id="rId5" imgW="498" imgH="499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 Placehold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Ravi Vangala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err="1" smtClean="0"/>
              <a:t>MinuteClinic</a:t>
            </a:r>
            <a:r>
              <a:rPr lang="en-US" dirty="0" err="1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Business</a:t>
            </a:r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Canva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smtClean="0"/>
              <a:t>5/16</a:t>
            </a:r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/2019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752080" y="0"/>
            <a:ext cx="4436745" cy="3429000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xmlns="" id="{18E5268C-C141-4840-9D00-CD333097B788}"/>
              </a:ext>
            </a:extLst>
          </p:cNvPr>
          <p:cNvSpPr/>
          <p:nvPr/>
        </p:nvSpPr>
        <p:spPr>
          <a:xfrm>
            <a:off x="7749346" y="3314331"/>
            <a:ext cx="4442653" cy="529933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64008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85000"/>
              </a:lnSpc>
            </a:pPr>
            <a:r>
              <a:rPr lang="en-US" sz="1600" b="1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Architecture Planning</a:t>
            </a:r>
          </a:p>
        </p:txBody>
      </p:sp>
      <p:sp>
        <p:nvSpPr>
          <p:cNvPr id="16" name="Rectangle 15"/>
          <p:cNvSpPr/>
          <p:nvPr/>
        </p:nvSpPr>
        <p:spPr>
          <a:xfrm>
            <a:off x="7749346" y="3283084"/>
            <a:ext cx="4442654" cy="74842"/>
          </a:xfrm>
          <a:prstGeom prst="rect">
            <a:avLst/>
          </a:prstGeom>
          <a:solidFill>
            <a:srgbClr val="043B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7749345" y="3799295"/>
            <a:ext cx="4442654" cy="74842"/>
          </a:xfrm>
          <a:prstGeom prst="rect">
            <a:avLst/>
          </a:prstGeom>
          <a:solidFill>
            <a:srgbClr val="043B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8" name="Picture 17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096675" y="3403488"/>
            <a:ext cx="426894" cy="3647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58430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4790239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10" name="think-cell Slide" r:id="rId5" imgW="498" imgH="499" progId="TCLayout.ActiveDocument.1">
                  <p:embed/>
                </p:oleObj>
              </mc:Choice>
              <mc:Fallback>
                <p:oleObj name="think-cell Slide" r:id="rId5" imgW="498" imgH="499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inuteClinic Business </a:t>
            </a:r>
            <a:r>
              <a:rPr lang="en-US" dirty="0"/>
              <a:t>Canvas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Holistic view of the current </a:t>
            </a:r>
            <a:r>
              <a:rPr lang="en-US" dirty="0" smtClean="0"/>
              <a:t>MinuteClinic business </a:t>
            </a:r>
            <a:r>
              <a:rPr lang="en-US" dirty="0"/>
              <a:t>model</a:t>
            </a:r>
            <a:endParaRPr lang="en-US" i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xmlns="" id="{CEC2180E-ADC9-45E8-ACAC-AA8639D58EB0}"/>
              </a:ext>
            </a:extLst>
          </p:cNvPr>
          <p:cNvSpPr txBox="1"/>
          <p:nvPr/>
        </p:nvSpPr>
        <p:spPr>
          <a:xfrm>
            <a:off x="497149" y="1846555"/>
            <a:ext cx="2237169" cy="2837832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b="1" dirty="0">
                <a:solidFill>
                  <a:schemeClr val="tx2"/>
                </a:solidFill>
                <a:cs typeface="Open Sans Light"/>
              </a:rPr>
              <a:t>Key Partnership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xmlns="" id="{E264B917-4738-4EDA-9C92-C7733ED9246B}"/>
              </a:ext>
            </a:extLst>
          </p:cNvPr>
          <p:cNvSpPr txBox="1"/>
          <p:nvPr/>
        </p:nvSpPr>
        <p:spPr>
          <a:xfrm>
            <a:off x="4971495" y="1841672"/>
            <a:ext cx="2237169" cy="2842715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b="1" dirty="0">
                <a:solidFill>
                  <a:schemeClr val="tx2"/>
                </a:solidFill>
                <a:cs typeface="Open Sans Light"/>
              </a:rPr>
              <a:t>Value Proposition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xmlns="" id="{87DD8883-8AB8-4DAB-9896-B97679AB488E}"/>
              </a:ext>
            </a:extLst>
          </p:cNvPr>
          <p:cNvSpPr txBox="1"/>
          <p:nvPr/>
        </p:nvSpPr>
        <p:spPr>
          <a:xfrm>
            <a:off x="497149" y="4690754"/>
            <a:ext cx="5598851" cy="1646425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b="1" dirty="0">
                <a:solidFill>
                  <a:schemeClr val="tx2"/>
                </a:solidFill>
                <a:cs typeface="Open Sans Light"/>
              </a:rPr>
              <a:t>Cost Structure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xmlns="" id="{72A78C51-56DA-401E-BD94-28EE8597FE01}"/>
              </a:ext>
            </a:extLst>
          </p:cNvPr>
          <p:cNvSpPr txBox="1"/>
          <p:nvPr/>
        </p:nvSpPr>
        <p:spPr>
          <a:xfrm>
            <a:off x="2729883" y="1846556"/>
            <a:ext cx="2237169" cy="1705641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b="1" dirty="0">
                <a:solidFill>
                  <a:schemeClr val="tx2"/>
                </a:solidFill>
                <a:cs typeface="Open Sans Light"/>
              </a:rPr>
              <a:t>Key Activities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xmlns="" id="{FEA11D69-3879-4CCB-BAC8-6104091602CD}"/>
              </a:ext>
            </a:extLst>
          </p:cNvPr>
          <p:cNvSpPr txBox="1"/>
          <p:nvPr/>
        </p:nvSpPr>
        <p:spPr>
          <a:xfrm>
            <a:off x="9452503" y="1840417"/>
            <a:ext cx="2239385" cy="2843969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b="1" dirty="0">
                <a:solidFill>
                  <a:schemeClr val="tx2"/>
                </a:solidFill>
                <a:cs typeface="Open Sans Light"/>
              </a:rPr>
              <a:t>Customer Segment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xmlns="" id="{9C2F0882-378F-43E3-B718-5F38E6584BD9}"/>
              </a:ext>
            </a:extLst>
          </p:cNvPr>
          <p:cNvSpPr txBox="1"/>
          <p:nvPr/>
        </p:nvSpPr>
        <p:spPr>
          <a:xfrm>
            <a:off x="7213110" y="1840418"/>
            <a:ext cx="2237169" cy="1364647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b="1" dirty="0">
                <a:solidFill>
                  <a:schemeClr val="tx2"/>
                </a:solidFill>
                <a:cs typeface="Open Sans Light"/>
              </a:rPr>
              <a:t>Customer Relationships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xmlns="" id="{B9BCF63C-1DFD-48EA-9435-EE4343DE3D94}"/>
              </a:ext>
            </a:extLst>
          </p:cNvPr>
          <p:cNvSpPr txBox="1"/>
          <p:nvPr/>
        </p:nvSpPr>
        <p:spPr>
          <a:xfrm>
            <a:off x="2732101" y="3558565"/>
            <a:ext cx="2237169" cy="1125821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b="1" dirty="0">
                <a:solidFill>
                  <a:schemeClr val="tx2"/>
                </a:solidFill>
                <a:cs typeface="Open Sans Light"/>
              </a:rPr>
              <a:t>Key Resources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xmlns="" id="{39F2A279-C025-414A-A9FC-A0F11D339A1E}"/>
              </a:ext>
            </a:extLst>
          </p:cNvPr>
          <p:cNvSpPr txBox="1"/>
          <p:nvPr/>
        </p:nvSpPr>
        <p:spPr>
          <a:xfrm>
            <a:off x="7213109" y="3206320"/>
            <a:ext cx="2237169" cy="1478067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b="1" dirty="0">
                <a:solidFill>
                  <a:schemeClr val="tx2"/>
                </a:solidFill>
                <a:cs typeface="Open Sans Light"/>
              </a:rPr>
              <a:t>Channels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xmlns="" id="{7E00DCEC-069C-4C4E-84BA-825262ABB16E}"/>
              </a:ext>
            </a:extLst>
          </p:cNvPr>
          <p:cNvSpPr txBox="1"/>
          <p:nvPr/>
        </p:nvSpPr>
        <p:spPr>
          <a:xfrm>
            <a:off x="6093037" y="4687287"/>
            <a:ext cx="5598851" cy="164642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b="1" dirty="0">
                <a:solidFill>
                  <a:schemeClr val="tx2"/>
                </a:solidFill>
                <a:cs typeface="Open Sans Light"/>
              </a:rPr>
              <a:t>Revenue Streams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917901" y="2206373"/>
            <a:ext cx="1516666" cy="404241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  <a:cs typeface="Open Sans Bold"/>
              </a:rPr>
              <a:t>Clinical affiliations </a:t>
            </a:r>
            <a:r>
              <a:rPr lang="en-US" sz="900" dirty="0" smtClean="0">
                <a:solidFill>
                  <a:schemeClr val="bg1">
                    <a:lumMod val="50000"/>
                  </a:schemeClr>
                </a:solidFill>
                <a:cs typeface="Open Sans Bold"/>
              </a:rPr>
              <a:t>(Cleveland Clinic, </a:t>
            </a:r>
            <a:r>
              <a:rPr lang="en-US" sz="900" dirty="0">
                <a:solidFill>
                  <a:schemeClr val="bg1">
                    <a:lumMod val="50000"/>
                  </a:schemeClr>
                </a:solidFill>
                <a:cs typeface="Open Sans Bold"/>
              </a:rPr>
              <a:t>7</a:t>
            </a:r>
            <a:r>
              <a:rPr lang="en-US" sz="900" dirty="0" smtClean="0">
                <a:solidFill>
                  <a:schemeClr val="bg1">
                    <a:lumMod val="50000"/>
                  </a:schemeClr>
                </a:solidFill>
                <a:cs typeface="Open Sans Bold"/>
              </a:rPr>
              <a:t>0+ </a:t>
            </a:r>
            <a:r>
              <a:rPr lang="en-US" sz="900" dirty="0">
                <a:solidFill>
                  <a:schemeClr val="bg1">
                    <a:lumMod val="50000"/>
                  </a:schemeClr>
                </a:solidFill>
                <a:cs typeface="Open Sans Bold"/>
              </a:rPr>
              <a:t>other).</a:t>
            </a:r>
          </a:p>
        </p:txBody>
      </p:sp>
      <p:sp>
        <p:nvSpPr>
          <p:cNvPr id="24" name="Rounded Rectangle 23"/>
          <p:cNvSpPr/>
          <p:nvPr/>
        </p:nvSpPr>
        <p:spPr>
          <a:xfrm>
            <a:off x="916299" y="2650963"/>
            <a:ext cx="1516666" cy="545000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 smtClean="0">
                <a:solidFill>
                  <a:schemeClr val="tx1"/>
                </a:solidFill>
                <a:latin typeface="+mj-lt"/>
                <a:cs typeface="Open Sans Bold"/>
              </a:rPr>
              <a:t>Primary care doctors </a:t>
            </a:r>
          </a:p>
          <a:p>
            <a:pPr algn="ctr"/>
            <a:r>
              <a:rPr lang="en-US" sz="900" dirty="0" smtClean="0">
                <a:solidFill>
                  <a:schemeClr val="bg1">
                    <a:lumMod val="50000"/>
                  </a:schemeClr>
                </a:solidFill>
                <a:latin typeface="+mj-lt"/>
                <a:cs typeface="Open Sans Bold"/>
              </a:rPr>
              <a:t>(via Epic care everywhere or manual CCR/fax)</a:t>
            </a:r>
          </a:p>
        </p:txBody>
      </p:sp>
      <p:sp>
        <p:nvSpPr>
          <p:cNvPr id="25" name="Rounded Rectangle 24"/>
          <p:cNvSpPr/>
          <p:nvPr/>
        </p:nvSpPr>
        <p:spPr>
          <a:xfrm>
            <a:off x="916299" y="3242493"/>
            <a:ext cx="1516666" cy="332636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 smtClean="0">
                <a:solidFill>
                  <a:schemeClr val="tx1"/>
                </a:solidFill>
                <a:latin typeface="+mj-lt"/>
                <a:cs typeface="Open Sans Bold"/>
              </a:rPr>
              <a:t>Health plans &amp; Providers </a:t>
            </a:r>
            <a:r>
              <a:rPr lang="en-US" sz="900" dirty="0" smtClean="0">
                <a:solidFill>
                  <a:schemeClr val="bg1">
                    <a:lumMod val="50000"/>
                  </a:schemeClr>
                </a:solidFill>
                <a:latin typeface="+mj-lt"/>
                <a:cs typeface="Open Sans Bold"/>
              </a:rPr>
              <a:t>(electronic data xfer)</a:t>
            </a:r>
          </a:p>
        </p:txBody>
      </p:sp>
      <p:sp>
        <p:nvSpPr>
          <p:cNvPr id="26" name="Rounded Rectangle 25"/>
          <p:cNvSpPr/>
          <p:nvPr/>
        </p:nvSpPr>
        <p:spPr>
          <a:xfrm>
            <a:off x="912355" y="3634545"/>
            <a:ext cx="1516666" cy="332636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 smtClean="0">
                <a:solidFill>
                  <a:schemeClr val="tx1"/>
                </a:solidFill>
                <a:latin typeface="+mj-lt"/>
                <a:cs typeface="Open Sans Bold"/>
              </a:rPr>
              <a:t>HealthTag program for clients and health plans</a:t>
            </a:r>
            <a:endParaRPr lang="en-US" sz="900" dirty="0" smtClean="0">
              <a:solidFill>
                <a:schemeClr val="bg1">
                  <a:lumMod val="50000"/>
                </a:schemeClr>
              </a:solidFill>
              <a:latin typeface="+mj-lt"/>
              <a:cs typeface="Open Sans Bold"/>
            </a:endParaRPr>
          </a:p>
        </p:txBody>
      </p:sp>
      <p:sp>
        <p:nvSpPr>
          <p:cNvPr id="27" name="Rounded Rectangle 26"/>
          <p:cNvSpPr/>
          <p:nvPr/>
        </p:nvSpPr>
        <p:spPr>
          <a:xfrm>
            <a:off x="2826318" y="2102813"/>
            <a:ext cx="1029899" cy="332636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 smtClean="0">
                <a:solidFill>
                  <a:schemeClr val="tx1"/>
                </a:solidFill>
                <a:latin typeface="+mj-lt"/>
                <a:cs typeface="Open Sans Bold"/>
              </a:rPr>
              <a:t>Health diagnosis</a:t>
            </a:r>
          </a:p>
        </p:txBody>
      </p:sp>
      <p:sp>
        <p:nvSpPr>
          <p:cNvPr id="28" name="Rounded Rectangle 27"/>
          <p:cNvSpPr/>
          <p:nvPr/>
        </p:nvSpPr>
        <p:spPr>
          <a:xfrm>
            <a:off x="2826318" y="2491067"/>
            <a:ext cx="1029899" cy="332636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 smtClean="0">
                <a:solidFill>
                  <a:schemeClr val="tx1"/>
                </a:solidFill>
                <a:latin typeface="+mj-lt"/>
                <a:cs typeface="Open Sans Bold"/>
              </a:rPr>
              <a:t>Screenings &amp; monitoring</a:t>
            </a:r>
            <a:endParaRPr lang="en-US" sz="900" dirty="0">
              <a:solidFill>
                <a:schemeClr val="tx1"/>
              </a:solidFill>
              <a:latin typeface="+mj-lt"/>
              <a:cs typeface="Open Sans Bold"/>
            </a:endParaRPr>
          </a:p>
        </p:txBody>
      </p:sp>
      <p:sp>
        <p:nvSpPr>
          <p:cNvPr id="29" name="Rounded Rectangle 28"/>
          <p:cNvSpPr/>
          <p:nvPr/>
        </p:nvSpPr>
        <p:spPr>
          <a:xfrm>
            <a:off x="3886294" y="2102813"/>
            <a:ext cx="1029899" cy="332636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 smtClean="0">
                <a:solidFill>
                  <a:schemeClr val="tx1"/>
                </a:solidFill>
                <a:latin typeface="+mj-lt"/>
                <a:cs typeface="Open Sans Bold"/>
              </a:rPr>
              <a:t>Vaccination</a:t>
            </a:r>
            <a:endParaRPr lang="en-US" sz="900" dirty="0">
              <a:solidFill>
                <a:schemeClr val="tx1"/>
              </a:solidFill>
              <a:latin typeface="+mj-lt"/>
              <a:cs typeface="Open Sans Bold"/>
            </a:endParaRPr>
          </a:p>
        </p:txBody>
      </p:sp>
      <p:sp>
        <p:nvSpPr>
          <p:cNvPr id="30" name="Rounded Rectangle 29"/>
          <p:cNvSpPr/>
          <p:nvPr/>
        </p:nvSpPr>
        <p:spPr>
          <a:xfrm>
            <a:off x="2826317" y="3843533"/>
            <a:ext cx="1041612" cy="332636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 smtClean="0">
                <a:solidFill>
                  <a:schemeClr val="tx1"/>
                </a:solidFill>
                <a:latin typeface="+mj-lt"/>
                <a:cs typeface="Open Sans Bold"/>
              </a:rPr>
              <a:t>Skilled nurse practitioners</a:t>
            </a:r>
          </a:p>
        </p:txBody>
      </p:sp>
      <p:sp>
        <p:nvSpPr>
          <p:cNvPr id="31" name="Rounded Rectangle 30"/>
          <p:cNvSpPr/>
          <p:nvPr/>
        </p:nvSpPr>
        <p:spPr>
          <a:xfrm>
            <a:off x="3886293" y="3843533"/>
            <a:ext cx="1041612" cy="332636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 smtClean="0">
                <a:solidFill>
                  <a:schemeClr val="tx1"/>
                </a:solidFill>
                <a:latin typeface="+mj-lt"/>
                <a:cs typeface="Open Sans Bold"/>
              </a:rPr>
              <a:t>Local real-estate</a:t>
            </a:r>
          </a:p>
        </p:txBody>
      </p:sp>
      <p:sp>
        <p:nvSpPr>
          <p:cNvPr id="32" name="Rounded Rectangle 31"/>
          <p:cNvSpPr/>
          <p:nvPr/>
        </p:nvSpPr>
        <p:spPr>
          <a:xfrm>
            <a:off x="5186450" y="2108806"/>
            <a:ext cx="1883581" cy="413433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 smtClean="0">
                <a:solidFill>
                  <a:schemeClr val="tx1"/>
                </a:solidFill>
                <a:latin typeface="+mj-lt"/>
                <a:cs typeface="Open Sans Bold"/>
              </a:rPr>
              <a:t>Provides </a:t>
            </a:r>
            <a:r>
              <a:rPr lang="en-US" sz="900" dirty="0">
                <a:solidFill>
                  <a:schemeClr val="tx1"/>
                </a:solidFill>
                <a:latin typeface="+mj-lt"/>
                <a:cs typeface="Open Sans Bold"/>
              </a:rPr>
              <a:t>on-demand</a:t>
            </a:r>
          </a:p>
          <a:p>
            <a:pPr algn="ctr"/>
            <a:r>
              <a:rPr lang="en-US" sz="900" dirty="0">
                <a:solidFill>
                  <a:schemeClr val="tx1"/>
                </a:solidFill>
                <a:latin typeface="+mj-lt"/>
                <a:cs typeface="Open Sans Bold"/>
              </a:rPr>
              <a:t>access to primary care at the convenience of patient </a:t>
            </a:r>
            <a:endParaRPr lang="en-US" sz="900" dirty="0">
              <a:solidFill>
                <a:schemeClr val="bg1">
                  <a:lumMod val="50000"/>
                </a:schemeClr>
              </a:solidFill>
              <a:latin typeface="+mj-lt"/>
              <a:cs typeface="Open Sans Bold"/>
            </a:endParaRPr>
          </a:p>
        </p:txBody>
      </p:sp>
      <p:sp>
        <p:nvSpPr>
          <p:cNvPr id="33" name="Rounded Rectangle 32"/>
          <p:cNvSpPr/>
          <p:nvPr/>
        </p:nvSpPr>
        <p:spPr>
          <a:xfrm>
            <a:off x="5167010" y="3149869"/>
            <a:ext cx="1883581" cy="494804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  <a:latin typeface="+mj-lt"/>
                <a:cs typeface="Open Sans Bold"/>
              </a:rPr>
              <a:t>7</a:t>
            </a:r>
            <a:r>
              <a:rPr lang="en-US" sz="900" dirty="0" smtClean="0">
                <a:solidFill>
                  <a:schemeClr val="tx1"/>
                </a:solidFill>
                <a:latin typeface="+mj-lt"/>
                <a:cs typeface="Open Sans Bold"/>
              </a:rPr>
              <a:t>M patient visits per year, 1,100+ locations, 7 days a week, no appointment necessary</a:t>
            </a:r>
            <a:endParaRPr lang="en-US" sz="900" dirty="0">
              <a:solidFill>
                <a:schemeClr val="tx1"/>
              </a:solidFill>
              <a:latin typeface="+mj-lt"/>
              <a:cs typeface="Open Sans Bold"/>
            </a:endParaRPr>
          </a:p>
        </p:txBody>
      </p:sp>
      <p:sp>
        <p:nvSpPr>
          <p:cNvPr id="34" name="Rounded Rectangle 33"/>
          <p:cNvSpPr/>
          <p:nvPr/>
        </p:nvSpPr>
        <p:spPr>
          <a:xfrm>
            <a:off x="5184848" y="2594211"/>
            <a:ext cx="1883581" cy="486456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  <a:latin typeface="+mj-lt"/>
                <a:cs typeface="Open Sans Bold"/>
              </a:rPr>
              <a:t>A</a:t>
            </a:r>
            <a:r>
              <a:rPr lang="en-US" sz="900" dirty="0" smtClean="0">
                <a:solidFill>
                  <a:schemeClr val="tx1"/>
                </a:solidFill>
                <a:latin typeface="+mj-lt"/>
                <a:cs typeface="Open Sans Bold"/>
              </a:rPr>
              <a:t>ffordable </a:t>
            </a:r>
            <a:r>
              <a:rPr lang="en-US" sz="900" dirty="0">
                <a:solidFill>
                  <a:schemeClr val="tx1"/>
                </a:solidFill>
                <a:latin typeface="+mj-lt"/>
                <a:cs typeface="Open Sans Bold"/>
              </a:rPr>
              <a:t>care, </a:t>
            </a:r>
            <a:r>
              <a:rPr lang="en-US" sz="900" dirty="0" smtClean="0">
                <a:solidFill>
                  <a:schemeClr val="tx1"/>
                </a:solidFill>
                <a:latin typeface="+mj-lt"/>
                <a:cs typeface="Open Sans Bold"/>
              </a:rPr>
              <a:t>transparent fees, and </a:t>
            </a:r>
            <a:r>
              <a:rPr lang="en-US" sz="900" dirty="0">
                <a:solidFill>
                  <a:schemeClr val="tx1"/>
                </a:solidFill>
                <a:latin typeface="+mj-lt"/>
                <a:cs typeface="Open Sans Bold"/>
              </a:rPr>
              <a:t>less expensive than primary </a:t>
            </a:r>
            <a:r>
              <a:rPr lang="en-US" sz="900" dirty="0" smtClean="0">
                <a:solidFill>
                  <a:schemeClr val="tx1"/>
                </a:solidFill>
                <a:latin typeface="+mj-lt"/>
                <a:cs typeface="Open Sans Bold"/>
              </a:rPr>
              <a:t>care physician</a:t>
            </a:r>
            <a:endParaRPr lang="en-US" sz="900" dirty="0">
              <a:solidFill>
                <a:schemeClr val="tx1"/>
              </a:solidFill>
              <a:latin typeface="+mj-lt"/>
              <a:cs typeface="Open Sans Bold"/>
            </a:endParaRPr>
          </a:p>
        </p:txBody>
      </p:sp>
      <p:sp>
        <p:nvSpPr>
          <p:cNvPr id="35" name="Rounded Rectangle 34"/>
          <p:cNvSpPr/>
          <p:nvPr/>
        </p:nvSpPr>
        <p:spPr>
          <a:xfrm>
            <a:off x="5184848" y="3713856"/>
            <a:ext cx="1883581" cy="668854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 smtClean="0">
                <a:solidFill>
                  <a:schemeClr val="tx1"/>
                </a:solidFill>
                <a:latin typeface="+mj-lt"/>
                <a:cs typeface="Open Sans Bold"/>
              </a:rPr>
              <a:t>One </a:t>
            </a:r>
            <a:r>
              <a:rPr lang="en-US" sz="900" dirty="0">
                <a:solidFill>
                  <a:schemeClr val="tx1"/>
                </a:solidFill>
                <a:latin typeface="+mj-lt"/>
                <a:cs typeface="Open Sans Bold"/>
              </a:rPr>
              <a:t>stop medical center- for fast, cost-effective, convenient,</a:t>
            </a:r>
          </a:p>
          <a:p>
            <a:pPr algn="ctr"/>
            <a:r>
              <a:rPr lang="en-US" sz="900" dirty="0">
                <a:solidFill>
                  <a:schemeClr val="tx1"/>
                </a:solidFill>
                <a:latin typeface="+mj-lt"/>
                <a:cs typeface="Open Sans Bold"/>
              </a:rPr>
              <a:t>reliable diagnosis and treatment services for common illnesses and vaccinations</a:t>
            </a:r>
          </a:p>
        </p:txBody>
      </p:sp>
      <p:sp>
        <p:nvSpPr>
          <p:cNvPr id="41" name="Rounded Rectangle 40"/>
          <p:cNvSpPr/>
          <p:nvPr/>
        </p:nvSpPr>
        <p:spPr>
          <a:xfrm>
            <a:off x="9674746" y="2206373"/>
            <a:ext cx="1823747" cy="559094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+mj-lt"/>
                <a:cs typeface="Open Sans Bold"/>
              </a:rPr>
              <a:t>US domestic </a:t>
            </a:r>
            <a:r>
              <a:rPr lang="en-US" sz="900" b="1" dirty="0" smtClean="0">
                <a:solidFill>
                  <a:schemeClr val="tx1"/>
                </a:solidFill>
                <a:latin typeface="+mj-lt"/>
                <a:cs typeface="Open Sans Bold"/>
              </a:rPr>
              <a:t>population in need of </a:t>
            </a:r>
            <a:r>
              <a:rPr lang="en-US" sz="900" dirty="0">
                <a:solidFill>
                  <a:schemeClr val="tx1"/>
                </a:solidFill>
                <a:cs typeface="Open Sans Bold"/>
              </a:rPr>
              <a:t>diagnosis and treatment services for common illnesses and </a:t>
            </a:r>
            <a:r>
              <a:rPr lang="en-US" sz="900" dirty="0" smtClean="0">
                <a:solidFill>
                  <a:schemeClr val="tx1"/>
                </a:solidFill>
                <a:cs typeface="Open Sans Bold"/>
              </a:rPr>
              <a:t>vaccinations</a:t>
            </a:r>
            <a:endParaRPr lang="en-US" sz="900" dirty="0">
              <a:solidFill>
                <a:schemeClr val="tx1"/>
              </a:solidFill>
              <a:cs typeface="Open Sans Bold"/>
            </a:endParaRPr>
          </a:p>
        </p:txBody>
      </p:sp>
      <p:sp>
        <p:nvSpPr>
          <p:cNvPr id="42" name="Rounded Rectangle 41"/>
          <p:cNvSpPr/>
          <p:nvPr/>
        </p:nvSpPr>
        <p:spPr>
          <a:xfrm>
            <a:off x="7430906" y="3497168"/>
            <a:ext cx="830615" cy="332636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 smtClean="0">
                <a:solidFill>
                  <a:schemeClr val="tx1"/>
                </a:solidFill>
                <a:latin typeface="+mj-lt"/>
                <a:cs typeface="Open Sans Bold"/>
              </a:rPr>
              <a:t>In person</a:t>
            </a:r>
          </a:p>
        </p:txBody>
      </p:sp>
      <p:sp>
        <p:nvSpPr>
          <p:cNvPr id="43" name="Rounded Rectangle 42"/>
          <p:cNvSpPr/>
          <p:nvPr/>
        </p:nvSpPr>
        <p:spPr>
          <a:xfrm>
            <a:off x="7430906" y="3875590"/>
            <a:ext cx="830615" cy="332636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 smtClean="0">
                <a:solidFill>
                  <a:schemeClr val="tx1"/>
                </a:solidFill>
                <a:latin typeface="+mj-lt"/>
                <a:cs typeface="Open Sans Bold"/>
              </a:rPr>
              <a:t>Phone, text</a:t>
            </a:r>
          </a:p>
        </p:txBody>
      </p:sp>
      <p:sp>
        <p:nvSpPr>
          <p:cNvPr id="44" name="Rounded Rectangle 43"/>
          <p:cNvSpPr/>
          <p:nvPr/>
        </p:nvSpPr>
        <p:spPr>
          <a:xfrm>
            <a:off x="7430906" y="4254315"/>
            <a:ext cx="830615" cy="332636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 smtClean="0">
                <a:solidFill>
                  <a:schemeClr val="tx1"/>
                </a:solidFill>
                <a:latin typeface="+mj-lt"/>
                <a:cs typeface="Open Sans Bold"/>
              </a:rPr>
              <a:t>Telemedicine</a:t>
            </a:r>
          </a:p>
        </p:txBody>
      </p:sp>
      <p:sp>
        <p:nvSpPr>
          <p:cNvPr id="45" name="Rounded Rectangle 44"/>
          <p:cNvSpPr/>
          <p:nvPr/>
        </p:nvSpPr>
        <p:spPr>
          <a:xfrm>
            <a:off x="8424039" y="3502158"/>
            <a:ext cx="830615" cy="332636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 smtClean="0">
                <a:solidFill>
                  <a:schemeClr val="tx1"/>
                </a:solidFill>
                <a:latin typeface="+mj-lt"/>
                <a:cs typeface="Open Sans Bold"/>
              </a:rPr>
              <a:t>Email</a:t>
            </a:r>
          </a:p>
        </p:txBody>
      </p:sp>
      <p:sp>
        <p:nvSpPr>
          <p:cNvPr id="46" name="Rounded Rectangle 45"/>
          <p:cNvSpPr/>
          <p:nvPr/>
        </p:nvSpPr>
        <p:spPr>
          <a:xfrm>
            <a:off x="8424038" y="3889220"/>
            <a:ext cx="830615" cy="332636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 smtClean="0">
                <a:solidFill>
                  <a:schemeClr val="tx1"/>
                </a:solidFill>
                <a:latin typeface="+mj-lt"/>
                <a:cs typeface="Open Sans Bold"/>
              </a:rPr>
              <a:t>Web/ Mobile app</a:t>
            </a:r>
          </a:p>
        </p:txBody>
      </p:sp>
      <p:sp>
        <p:nvSpPr>
          <p:cNvPr id="47" name="Rounded Rectangle 46"/>
          <p:cNvSpPr/>
          <p:nvPr/>
        </p:nvSpPr>
        <p:spPr>
          <a:xfrm>
            <a:off x="8426631" y="4254315"/>
            <a:ext cx="830615" cy="332636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 smtClean="0">
                <a:solidFill>
                  <a:schemeClr val="tx1"/>
                </a:solidFill>
                <a:latin typeface="+mj-lt"/>
                <a:cs typeface="Open Sans Bold"/>
              </a:rPr>
              <a:t>Video Visit</a:t>
            </a:r>
          </a:p>
        </p:txBody>
      </p:sp>
      <p:sp>
        <p:nvSpPr>
          <p:cNvPr id="48" name="Rounded Rectangle 47"/>
          <p:cNvSpPr/>
          <p:nvPr/>
        </p:nvSpPr>
        <p:spPr>
          <a:xfrm>
            <a:off x="7805145" y="2180626"/>
            <a:ext cx="1172320" cy="332636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 smtClean="0">
                <a:solidFill>
                  <a:schemeClr val="tx1"/>
                </a:solidFill>
                <a:latin typeface="+mj-lt"/>
                <a:cs typeface="Open Sans Bold"/>
              </a:rPr>
              <a:t>Patients</a:t>
            </a:r>
          </a:p>
        </p:txBody>
      </p:sp>
      <p:sp>
        <p:nvSpPr>
          <p:cNvPr id="49" name="Rounded Rectangle 48"/>
          <p:cNvSpPr/>
          <p:nvPr/>
        </p:nvSpPr>
        <p:spPr>
          <a:xfrm>
            <a:off x="7805145" y="2568377"/>
            <a:ext cx="1172320" cy="332636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 smtClean="0">
                <a:solidFill>
                  <a:schemeClr val="tx1"/>
                </a:solidFill>
                <a:latin typeface="+mj-lt"/>
                <a:cs typeface="Open Sans Bold"/>
              </a:rPr>
              <a:t>Doctors &amp; affiliations</a:t>
            </a:r>
          </a:p>
        </p:txBody>
      </p:sp>
      <p:sp>
        <p:nvSpPr>
          <p:cNvPr id="50" name="Rounded Rectangle 49"/>
          <p:cNvSpPr/>
          <p:nvPr/>
        </p:nvSpPr>
        <p:spPr>
          <a:xfrm>
            <a:off x="855810" y="5053357"/>
            <a:ext cx="4585482" cy="332636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 smtClean="0">
                <a:solidFill>
                  <a:schemeClr val="tx1"/>
                </a:solidFill>
                <a:latin typeface="+mj-lt"/>
                <a:cs typeface="Open Sans Bold"/>
              </a:rPr>
              <a:t>Wages for nurse practitioners</a:t>
            </a:r>
            <a:endParaRPr lang="en-US" sz="900" dirty="0">
              <a:solidFill>
                <a:schemeClr val="bg1">
                  <a:lumMod val="50000"/>
                </a:schemeClr>
              </a:solidFill>
              <a:latin typeface="+mj-lt"/>
              <a:cs typeface="Open Sans Bold"/>
            </a:endParaRPr>
          </a:p>
        </p:txBody>
      </p:sp>
      <p:sp>
        <p:nvSpPr>
          <p:cNvPr id="51" name="Rounded Rectangle 50"/>
          <p:cNvSpPr/>
          <p:nvPr/>
        </p:nvSpPr>
        <p:spPr>
          <a:xfrm>
            <a:off x="855810" y="5460600"/>
            <a:ext cx="4585482" cy="332636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+mj-lt"/>
                <a:cs typeface="Open Sans Bold"/>
              </a:rPr>
              <a:t>Store real-estate </a:t>
            </a:r>
            <a:r>
              <a:rPr lang="en-US" sz="900" dirty="0">
                <a:solidFill>
                  <a:schemeClr val="bg1">
                    <a:lumMod val="50000"/>
                  </a:schemeClr>
                </a:solidFill>
                <a:latin typeface="+mj-lt"/>
                <a:cs typeface="Open Sans Bold"/>
              </a:rPr>
              <a:t>is very expensive especially in urban areas.</a:t>
            </a:r>
          </a:p>
        </p:txBody>
      </p:sp>
      <p:sp>
        <p:nvSpPr>
          <p:cNvPr id="52" name="Rounded Rectangle 51"/>
          <p:cNvSpPr/>
          <p:nvPr/>
        </p:nvSpPr>
        <p:spPr>
          <a:xfrm>
            <a:off x="6454661" y="5197400"/>
            <a:ext cx="4585482" cy="332636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cs typeface="Open Sans Bold"/>
              </a:rPr>
              <a:t>Our customers pay us by leveraging their health insurance services as well as their portion of the co-payment via cash or credit/debit cards</a:t>
            </a:r>
          </a:p>
        </p:txBody>
      </p:sp>
      <p:sp>
        <p:nvSpPr>
          <p:cNvPr id="53" name="Rounded Rectangle 52"/>
          <p:cNvSpPr/>
          <p:nvPr/>
        </p:nvSpPr>
        <p:spPr>
          <a:xfrm>
            <a:off x="6454661" y="5599238"/>
            <a:ext cx="4585482" cy="332636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 smtClean="0">
                <a:solidFill>
                  <a:schemeClr val="tx1"/>
                </a:solidFill>
                <a:latin typeface="+mj-lt"/>
                <a:cs typeface="Open Sans Bold"/>
              </a:rPr>
              <a:t>Health plans and clients pay us for exchanging health records and for providing HealthTag services</a:t>
            </a:r>
            <a:endParaRPr lang="en-US" sz="900" b="1" dirty="0">
              <a:solidFill>
                <a:schemeClr val="tx1"/>
              </a:solidFill>
              <a:latin typeface="+mj-lt"/>
              <a:cs typeface="Open Sans Bold"/>
            </a:endParaRPr>
          </a:p>
        </p:txBody>
      </p:sp>
      <p:sp>
        <p:nvSpPr>
          <p:cNvPr id="55" name="Rounded Rectangle 54"/>
          <p:cNvSpPr/>
          <p:nvPr/>
        </p:nvSpPr>
        <p:spPr>
          <a:xfrm>
            <a:off x="3886293" y="2495703"/>
            <a:ext cx="1029899" cy="332636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 smtClean="0">
                <a:solidFill>
                  <a:schemeClr val="tx1"/>
                </a:solidFill>
                <a:latin typeface="+mj-lt"/>
                <a:cs typeface="Open Sans Bold"/>
              </a:rPr>
              <a:t>Wellness &amp; Physical</a:t>
            </a:r>
            <a:endParaRPr lang="en-US" sz="900" dirty="0">
              <a:solidFill>
                <a:schemeClr val="tx1"/>
              </a:solidFill>
              <a:latin typeface="+mj-lt"/>
              <a:cs typeface="Open Sans Bold"/>
            </a:endParaRPr>
          </a:p>
        </p:txBody>
      </p:sp>
      <p:sp>
        <p:nvSpPr>
          <p:cNvPr id="57" name="Rounded Rectangle 56"/>
          <p:cNvSpPr/>
          <p:nvPr/>
        </p:nvSpPr>
        <p:spPr>
          <a:xfrm>
            <a:off x="2826317" y="2866511"/>
            <a:ext cx="1029899" cy="332636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 smtClean="0">
                <a:solidFill>
                  <a:schemeClr val="tx1"/>
                </a:solidFill>
                <a:latin typeface="+mj-lt"/>
                <a:cs typeface="Open Sans Bold"/>
              </a:rPr>
              <a:t>Inventory management</a:t>
            </a:r>
            <a:endParaRPr lang="en-US" sz="900" dirty="0">
              <a:solidFill>
                <a:schemeClr val="tx1"/>
              </a:solidFill>
              <a:latin typeface="+mj-lt"/>
              <a:cs typeface="Open Sans Bold"/>
            </a:endParaRPr>
          </a:p>
        </p:txBody>
      </p:sp>
      <p:sp>
        <p:nvSpPr>
          <p:cNvPr id="58" name="Rounded Rectangle 57"/>
          <p:cNvSpPr/>
          <p:nvPr/>
        </p:nvSpPr>
        <p:spPr>
          <a:xfrm>
            <a:off x="3326522" y="4244163"/>
            <a:ext cx="1041612" cy="332636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 smtClean="0">
                <a:solidFill>
                  <a:schemeClr val="tx1"/>
                </a:solidFill>
                <a:latin typeface="+mj-lt"/>
                <a:cs typeface="Open Sans Bold"/>
              </a:rPr>
              <a:t>Supply-chain &amp; Logistics</a:t>
            </a:r>
          </a:p>
        </p:txBody>
      </p:sp>
      <p:sp>
        <p:nvSpPr>
          <p:cNvPr id="59" name="Rounded Rectangle 58"/>
          <p:cNvSpPr/>
          <p:nvPr/>
        </p:nvSpPr>
        <p:spPr>
          <a:xfrm>
            <a:off x="912355" y="4014375"/>
            <a:ext cx="1516666" cy="332636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>
                <a:solidFill>
                  <a:schemeClr val="tx1"/>
                </a:solidFill>
                <a:cs typeface="Open Sans Bold"/>
              </a:rPr>
              <a:t>Suppliers</a:t>
            </a:r>
            <a:endParaRPr lang="en-US" sz="900" dirty="0" smtClean="0">
              <a:solidFill>
                <a:schemeClr val="tx1"/>
              </a:solidFill>
              <a:latin typeface="+mj-lt"/>
              <a:cs typeface="Open Sans Bold"/>
            </a:endParaRPr>
          </a:p>
        </p:txBody>
      </p:sp>
      <p:sp>
        <p:nvSpPr>
          <p:cNvPr id="60" name="Rounded Rectangle 59"/>
          <p:cNvSpPr/>
          <p:nvPr/>
        </p:nvSpPr>
        <p:spPr>
          <a:xfrm>
            <a:off x="3896684" y="2852574"/>
            <a:ext cx="1029899" cy="332636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 smtClean="0">
                <a:solidFill>
                  <a:schemeClr val="tx1"/>
                </a:solidFill>
                <a:latin typeface="+mj-lt"/>
                <a:cs typeface="Open Sans Bold"/>
              </a:rPr>
              <a:t>Illness &amp; injury treatment</a:t>
            </a:r>
            <a:endParaRPr lang="en-US" sz="900" dirty="0">
              <a:solidFill>
                <a:schemeClr val="tx1"/>
              </a:solidFill>
              <a:latin typeface="+mj-lt"/>
              <a:cs typeface="Open Sans Bold"/>
            </a:endParaRPr>
          </a:p>
        </p:txBody>
      </p:sp>
      <p:sp>
        <p:nvSpPr>
          <p:cNvPr id="54" name="Rounded Rectangle 53"/>
          <p:cNvSpPr/>
          <p:nvPr/>
        </p:nvSpPr>
        <p:spPr>
          <a:xfrm>
            <a:off x="3345388" y="3247429"/>
            <a:ext cx="1029899" cy="280592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 smtClean="0">
                <a:solidFill>
                  <a:schemeClr val="tx1"/>
                </a:solidFill>
                <a:latin typeface="+mj-lt"/>
                <a:cs typeface="Open Sans Bold"/>
              </a:rPr>
              <a:t>Health Hub engagement</a:t>
            </a:r>
            <a:endParaRPr lang="en-US" sz="900" dirty="0">
              <a:solidFill>
                <a:schemeClr val="tx1"/>
              </a:solidFill>
              <a:latin typeface="+mj-lt"/>
              <a:cs typeface="Open Sans Bold"/>
            </a:endParaRPr>
          </a:p>
        </p:txBody>
      </p:sp>
    </p:spTree>
    <p:extLst>
      <p:ext uri="{BB962C8B-B14F-4D97-AF65-F5344CB8AC3E}">
        <p14:creationId xmlns:p14="http://schemas.microsoft.com/office/powerpoint/2010/main" val="3105973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oftheCTO_theme_100218">
  <a:themeElements>
    <a:clrScheme name="Aetna - CTO FINAL AUGUST 18">
      <a:dk1>
        <a:srgbClr val="000000"/>
      </a:dk1>
      <a:lt1>
        <a:srgbClr val="FFFFFF"/>
      </a:lt1>
      <a:dk2>
        <a:srgbClr val="414141"/>
      </a:dk2>
      <a:lt2>
        <a:srgbClr val="C2C0C0"/>
      </a:lt2>
      <a:accent1>
        <a:srgbClr val="00859B"/>
      </a:accent1>
      <a:accent2>
        <a:srgbClr val="064E69"/>
      </a:accent2>
      <a:accent3>
        <a:srgbClr val="7CC0CC"/>
      </a:accent3>
      <a:accent4>
        <a:srgbClr val="B2DAE1"/>
      </a:accent4>
      <a:accent5>
        <a:srgbClr val="563D82"/>
      </a:accent5>
      <a:accent6>
        <a:srgbClr val="7C3E98"/>
      </a:accent6>
      <a:hlink>
        <a:srgbClr val="563D82"/>
      </a:hlink>
      <a:folHlink>
        <a:srgbClr val="B18BC1"/>
      </a:folHlink>
    </a:clrScheme>
    <a:fontScheme name="Smar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tlCol="0" anchor="ctr"/>
      <a:lstStyle>
        <a:defPPr algn="ctr">
          <a:defRPr dirty="0" smtClean="0">
            <a:latin typeface="+mj-lt"/>
            <a:cs typeface="Open Sans Bold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defTabSz="456758" fontAlgn="base">
          <a:spcBef>
            <a:spcPts val="1200"/>
          </a:spcBef>
          <a:defRPr dirty="0" err="1" smtClean="0">
            <a:solidFill>
              <a:schemeClr val="tx2"/>
            </a:solidFill>
            <a:cs typeface="Open Sans Ligh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oftheCTO_theme_100218" id="{18E4FBCB-19BE-804A-9DE7-397BE919D330}" vid="{0A8A6A59-A18B-E745-A2BF-59BBEE2B9A0D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69E6DEB8F4FB049B548952547B6305B" ma:contentTypeVersion="23" ma:contentTypeDescription="Create a new document." ma:contentTypeScope="" ma:versionID="c215ccef8c3a36b16093470dad90619d">
  <xsd:schema xmlns:xsd="http://www.w3.org/2001/XMLSchema" xmlns:xs="http://www.w3.org/2001/XMLSchema" xmlns:p="http://schemas.microsoft.com/office/2006/metadata/properties" xmlns:ns2="b1cf5257-8992-498b-aff9-2ccb2706890d" xmlns:ns3="f8f3ac21-d33a-4f17-9d4e-9f9f14b93e81" targetNamespace="http://schemas.microsoft.com/office/2006/metadata/properties" ma:root="true" ma:fieldsID="3d38ed3f155d5df0c2af8249c3cff766" ns2:_="" ns3:_="">
    <xsd:import namespace="b1cf5257-8992-498b-aff9-2ccb2706890d"/>
    <xsd:import namespace="f8f3ac21-d33a-4f17-9d4e-9f9f14b93e81"/>
    <xsd:element name="properties">
      <xsd:complexType>
        <xsd:sequence>
          <xsd:element name="documentManagement">
            <xsd:complexType>
              <xsd:all>
                <xsd:element ref="ns2:Link_x0020_to_x0020_Document" minOccurs="0"/>
                <xsd:element ref="ns3:SharedWithUsers" minOccurs="0"/>
                <xsd:element ref="ns3:SharedWithDetails" minOccurs="0"/>
                <xsd:element ref="ns2:ne0396003d134c759a94fef6d5606d1a" minOccurs="0"/>
                <xsd:element ref="ns3:TaxCatchAll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1cf5257-8992-498b-aff9-2ccb2706890d" elementFormDefault="qualified">
    <xsd:import namespace="http://schemas.microsoft.com/office/2006/documentManagement/types"/>
    <xsd:import namespace="http://schemas.microsoft.com/office/infopath/2007/PartnerControls"/>
    <xsd:element name="Link_x0020_to_x0020_Document" ma:index="8" nillable="true" ma:displayName="Link to Document" ma:format="Hyperlink" ma:internalName="Link_x0020_to_x0020_Document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ne0396003d134c759a94fef6d5606d1a" ma:index="12" nillable="true" ma:taxonomy="true" ma:internalName="ne0396003d134c759a94fef6d5606d1a" ma:taxonomyFieldName="ItemStatus" ma:displayName="ItemStatus" ma:default="" ma:fieldId="{7e039600-3d13-4c75-9a94-fef6d5606d1a}" ma:taxonomyMulti="true" ma:sspId="3773e5d3-86f4-436a-b35a-a9b626cf6315" ma:termSetId="db40ae4d-ec6d-4fe5-b1a5-c9938661c4ef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MediaLengthInSeconds" ma:index="14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8f3ac21-d33a-4f17-9d4e-9f9f14b93e81" elementFormDefault="qualified">
    <xsd:import namespace="http://schemas.microsoft.com/office/2006/documentManagement/types"/>
    <xsd:import namespace="http://schemas.microsoft.com/office/infopath/2007/PartnerControls"/>
    <xsd:element name="SharedWithUsers" ma:index="9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0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3" nillable="true" ma:displayName="Taxonomy Catch All Column" ma:hidden="true" ma:list="{b152409f-fec3-4f87-b851-0f982ca0a3b0}" ma:internalName="TaxCatchAll" ma:showField="CatchAllData" ma:web="f8f3ac21-d33a-4f17-9d4e-9f9f14b93e8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ink_x0020_to_x0020_Document xmlns="b1cf5257-8992-498b-aff9-2ccb2706890d">
      <Url xsi:nil="true"/>
      <Description xsi:nil="true"/>
    </Link_x0020_to_x0020_Document>
    <TaxCatchAll xmlns="f8f3ac21-d33a-4f17-9d4e-9f9f14b93e81" xsi:nil="true"/>
    <ne0396003d134c759a94fef6d5606d1a xmlns="b1cf5257-8992-498b-aff9-2ccb2706890d">
      <Terms xmlns="http://schemas.microsoft.com/office/infopath/2007/PartnerControls"/>
    </ne0396003d134c759a94fef6d5606d1a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0B25EC85-EDFB-45C3-B45E-16F01BD0BDB8}"/>
</file>

<file path=customXml/itemProps2.xml><?xml version="1.0" encoding="utf-8"?>
<ds:datastoreItem xmlns:ds="http://schemas.openxmlformats.org/officeDocument/2006/customXml" ds:itemID="{B24F0FD7-590D-477C-84D8-04F64A55F94D}"/>
</file>

<file path=customXml/itemProps3.xml><?xml version="1.0" encoding="utf-8"?>
<ds:datastoreItem xmlns:ds="http://schemas.openxmlformats.org/officeDocument/2006/customXml" ds:itemID="{3A4C5460-6341-4A06-8926-FDDA58E91623}"/>
</file>

<file path=docProps/app.xml><?xml version="1.0" encoding="utf-8"?>
<Properties xmlns="http://schemas.openxmlformats.org/officeDocument/2006/extended-properties" xmlns:vt="http://schemas.openxmlformats.org/officeDocument/2006/docPropsVTypes">
  <Template>Aetna Violet PPT template-widescreen</Template>
  <TotalTime>5929</TotalTime>
  <Words>249</Words>
  <Application>Microsoft Office PowerPoint</Application>
  <PresentationFormat>Widescreen</PresentationFormat>
  <Paragraphs>52</Paragraphs>
  <Slides>2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10" baseType="lpstr">
      <vt:lpstr>Arial</vt:lpstr>
      <vt:lpstr>Domaine Display</vt:lpstr>
      <vt:lpstr>Lucida Grande</vt:lpstr>
      <vt:lpstr>Open Sans</vt:lpstr>
      <vt:lpstr>Open Sans Bold</vt:lpstr>
      <vt:lpstr>Open Sans Light</vt:lpstr>
      <vt:lpstr>OfficeoftheCTO_theme_100218</vt:lpstr>
      <vt:lpstr>think-cell Slide</vt:lpstr>
      <vt:lpstr>MinuteClinicBusiness Canvas</vt:lpstr>
      <vt:lpstr>MinuteClinic Business Canvas</vt:lpstr>
    </vt:vector>
  </TitlesOfParts>
  <Company>Aetna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effrey Oddo</dc:creator>
  <cp:lastModifiedBy>Vangala, Ravi</cp:lastModifiedBy>
  <cp:revision>826</cp:revision>
  <cp:lastPrinted>2017-04-13T12:11:49Z</cp:lastPrinted>
  <dcterms:created xsi:type="dcterms:W3CDTF">2017-11-30T21:23:10Z</dcterms:created>
  <dcterms:modified xsi:type="dcterms:W3CDTF">2019-06-03T17:25:1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69E6DEB8F4FB049B548952547B6305B</vt:lpwstr>
  </property>
  <property fmtid="{D5CDD505-2E9C-101B-9397-08002B2CF9AE}" pid="3" name="Order">
    <vt:r8>1211700</vt:r8>
  </property>
  <property fmtid="{D5CDD505-2E9C-101B-9397-08002B2CF9AE}" pid="4" name="Sensitivity">
    <vt:lpwstr>Proprietary</vt:lpwstr>
  </property>
  <property fmtid="{D5CDD505-2E9C-101B-9397-08002B2CF9AE}" pid="5" name="MSIP_Label_67599526-06ca-49cc-9fa9-5307800a949a_Extended_MSFT_Method">
    <vt:lpwstr>Automatic</vt:lpwstr>
  </property>
  <property fmtid="{D5CDD505-2E9C-101B-9397-08002B2CF9AE}" pid="6" name="MSIP_Label_67599526-06ca-49cc-9fa9-5307800a949a_Enabled">
    <vt:lpwstr>True</vt:lpwstr>
  </property>
  <property fmtid="{D5CDD505-2E9C-101B-9397-08002B2CF9AE}" pid="7" name="ComplianceAssetId">
    <vt:lpwstr/>
  </property>
  <property fmtid="{D5CDD505-2E9C-101B-9397-08002B2CF9AE}" pid="8" name="MSIP_Label_67599526-06ca-49cc-9fa9-5307800a949a_SetDate">
    <vt:lpwstr>2018-11-27T13:51:41.6573611Z</vt:lpwstr>
  </property>
  <property fmtid="{D5CDD505-2E9C-101B-9397-08002B2CF9AE}" pid="9" name="MSIP_Label_67599526-06ca-49cc-9fa9-5307800a949a_Application">
    <vt:lpwstr>Microsoft Azure Information Protection</vt:lpwstr>
  </property>
  <property fmtid="{D5CDD505-2E9C-101B-9397-08002B2CF9AE}" pid="10" name="MSIP_Label_67599526-06ca-49cc-9fa9-5307800a949a_SiteId">
    <vt:lpwstr>fabb61b8-3afe-4e75-b934-a47f782b8cd7</vt:lpwstr>
  </property>
  <property fmtid="{D5CDD505-2E9C-101B-9397-08002B2CF9AE}" pid="11" name="MSIP_Label_67599526-06ca-49cc-9fa9-5307800a949a_Owner">
    <vt:lpwstr>StubanasCM@aetna.com</vt:lpwstr>
  </property>
  <property fmtid="{D5CDD505-2E9C-101B-9397-08002B2CF9AE}" pid="12" name="UnilyDocumentCategory">
    <vt:lpwstr/>
  </property>
  <property fmtid="{D5CDD505-2E9C-101B-9397-08002B2CF9AE}" pid="13" name="MSIP_Label_67599526-06ca-49cc-9fa9-5307800a949a_Name">
    <vt:lpwstr>Proprietary</vt:lpwstr>
  </property>
</Properties>
</file>